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03" r:id="rId4"/>
  </p:sldMasterIdLst>
  <p:notesMasterIdLst>
    <p:notesMasterId r:id="rId12"/>
  </p:notesMasterIdLst>
  <p:handoutMasterIdLst>
    <p:handoutMasterId r:id="rId13"/>
  </p:handoutMasterIdLst>
  <p:sldIdLst>
    <p:sldId id="449" r:id="rId5"/>
    <p:sldId id="377" r:id="rId6"/>
    <p:sldId id="271" r:id="rId7"/>
    <p:sldId id="450" r:id="rId8"/>
    <p:sldId id="451" r:id="rId9"/>
    <p:sldId id="452" r:id="rId10"/>
    <p:sldId id="447" r:id="rId11"/>
  </p:sldIdLst>
  <p:sldSz cx="9144000" cy="6858000" type="screen4x3"/>
  <p:notesSz cx="7315200" cy="9601200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>
          <p15:clr>
            <a:srgbClr val="A4A3A4"/>
          </p15:clr>
        </p15:guide>
        <p15:guide id="11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CD00"/>
    <a:srgbClr val="ED8B00"/>
    <a:srgbClr val="DB291C"/>
    <a:srgbClr val="FF9900"/>
    <a:srgbClr val="C00000"/>
    <a:srgbClr val="3C8A2E"/>
    <a:srgbClr val="DCDCDC"/>
    <a:srgbClr val="B4B4B4"/>
    <a:srgbClr val="5757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0142A8C-0156-4FC1-AEBB-2E30A20E23E1}" v="79" dt="2021-01-08T22:06:09.64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435" autoAdjust="0"/>
    <p:restoredTop sz="94984" autoAdjust="0"/>
  </p:normalViewPr>
  <p:slideViewPr>
    <p:cSldViewPr snapToGrid="0" showGuides="1">
      <p:cViewPr varScale="1">
        <p:scale>
          <a:sx n="62" d="100"/>
          <a:sy n="62" d="100"/>
        </p:scale>
        <p:origin x="1520" y="52"/>
      </p:cViewPr>
      <p:guideLst>
        <p:guide/>
        <p:guide orient="horz" pos="2160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57" d="100"/>
          <a:sy n="57" d="100"/>
        </p:scale>
        <p:origin x="1992" y="9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3/23/2022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3/23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58888" y="720725"/>
            <a:ext cx="47974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64875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4143375" y="9120188"/>
            <a:ext cx="3170238" cy="481012"/>
          </a:xfrm>
          <a:prstGeom prst="rect">
            <a:avLst/>
          </a:prstGeom>
        </p:spPr>
        <p:txBody>
          <a:bodyPr/>
          <a:lstStyle/>
          <a:p>
            <a:fld id="{B1FEB637-BC42-497E-9119-65CA0380A6EE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301173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71445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40972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30769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72030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4143375" y="9120188"/>
            <a:ext cx="3170238" cy="481012"/>
          </a:xfrm>
          <a:prstGeom prst="rect">
            <a:avLst/>
          </a:prstGeom>
        </p:spPr>
        <p:txBody>
          <a:bodyPr/>
          <a:lstStyle/>
          <a:p>
            <a:fld id="{B1FEB637-BC42-497E-9119-65CA0380A6EE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50177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79392" y="727200"/>
            <a:ext cx="54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479A113E-785C-4134-8B30-C210B45A185B}"/>
              </a:ext>
            </a:extLst>
          </p:cNvPr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>
              <a:extLst>
                <a:ext uri="{FF2B5EF4-FFF2-40B4-BE49-F238E27FC236}">
                  <a16:creationId xmlns:a16="http://schemas.microsoft.com/office/drawing/2014/main" id="{8B63D4AF-3B48-46E9-A5BC-05D6E40A037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BA7DB2B4-34F3-4209-AB15-3939E830966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7">
              <a:extLst>
                <a:ext uri="{FF2B5EF4-FFF2-40B4-BE49-F238E27FC236}">
                  <a16:creationId xmlns:a16="http://schemas.microsoft.com/office/drawing/2014/main" id="{D67DD513-9C28-43CE-9C97-03ABF980BB1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85F1C21B-2948-452A-8D98-14E87B3929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7" name="Rectangle 9">
              <a:extLst>
                <a:ext uri="{FF2B5EF4-FFF2-40B4-BE49-F238E27FC236}">
                  <a16:creationId xmlns:a16="http://schemas.microsoft.com/office/drawing/2014/main" id="{D2800B59-8859-4815-9BC5-6B8682E48AA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8" name="Rectangle 10">
              <a:extLst>
                <a:ext uri="{FF2B5EF4-FFF2-40B4-BE49-F238E27FC236}">
                  <a16:creationId xmlns:a16="http://schemas.microsoft.com/office/drawing/2014/main" id="{900F0BCA-DAAA-4CD7-8F11-6B4714C44FB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1">
              <a:extLst>
                <a:ext uri="{FF2B5EF4-FFF2-40B4-BE49-F238E27FC236}">
                  <a16:creationId xmlns:a16="http://schemas.microsoft.com/office/drawing/2014/main" id="{5B0F19FD-7764-49DD-9C06-0151DEA183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2">
              <a:extLst>
                <a:ext uri="{FF2B5EF4-FFF2-40B4-BE49-F238E27FC236}">
                  <a16:creationId xmlns:a16="http://schemas.microsoft.com/office/drawing/2014/main" id="{0D1383FB-68AE-4159-92C7-C280A8A75D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13">
              <a:extLst>
                <a:ext uri="{FF2B5EF4-FFF2-40B4-BE49-F238E27FC236}">
                  <a16:creationId xmlns:a16="http://schemas.microsoft.com/office/drawing/2014/main" id="{D88654C6-F22A-4DE8-873A-3FC20CA0A5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14">
              <a:extLst>
                <a:ext uri="{FF2B5EF4-FFF2-40B4-BE49-F238E27FC236}">
                  <a16:creationId xmlns:a16="http://schemas.microsoft.com/office/drawing/2014/main" id="{405D0B8C-3752-4ABF-A9D1-C4A80E7D19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  <p:sp>
        <p:nvSpPr>
          <p:cNvPr id="16" name="Title 1">
            <a:extLst>
              <a:ext uri="{FF2B5EF4-FFF2-40B4-BE49-F238E27FC236}">
                <a16:creationId xmlns:a16="http://schemas.microsoft.com/office/drawing/2014/main" id="{E454178E-9A1B-43C6-801B-253B59203DA3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342900" y="5186208"/>
            <a:ext cx="3368041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3085D2E5-FA26-4199-B38B-A4932DAD069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2900" y="6365848"/>
            <a:ext cx="3368041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696476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D514C35-1969-4042-AD48-07CF1F52ADBB}"/>
              </a:ext>
            </a:extLst>
          </p:cNvPr>
          <p:cNvSpPr txBox="1"/>
          <p:nvPr userDrawn="1"/>
        </p:nvSpPr>
        <p:spPr>
          <a:xfrm>
            <a:off x="8536782" y="6477000"/>
            <a:ext cx="2309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8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CaseCode">
            <a:extLst>
              <a:ext uri="{FF2B5EF4-FFF2-40B4-BE49-F238E27FC236}">
                <a16:creationId xmlns:a16="http://schemas.microsoft.com/office/drawing/2014/main" id="{66352522-0FD0-4C1A-9EA9-0A8A2D20B8E8}"/>
              </a:ext>
            </a:extLst>
          </p:cNvPr>
          <p:cNvSpPr txBox="1"/>
          <p:nvPr userDrawn="1"/>
        </p:nvSpPr>
        <p:spPr>
          <a:xfrm>
            <a:off x="5927510" y="6493477"/>
            <a:ext cx="2496298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5" name="Copyright">
            <a:extLst>
              <a:ext uri="{FF2B5EF4-FFF2-40B4-BE49-F238E27FC236}">
                <a16:creationId xmlns:a16="http://schemas.microsoft.com/office/drawing/2014/main" id="{F22080C9-5F51-4969-85C5-C08DFFB80653}"/>
              </a:ext>
            </a:extLst>
          </p:cNvPr>
          <p:cNvSpPr txBox="1"/>
          <p:nvPr userDrawn="1"/>
        </p:nvSpPr>
        <p:spPr>
          <a:xfrm>
            <a:off x="3323851" y="6527334"/>
            <a:ext cx="2496298" cy="32316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indent="0" algn="ctr">
              <a:spcBef>
                <a:spcPts val="0"/>
              </a:spcBef>
              <a:buSzPct val="100000"/>
              <a:buFont typeface="Arial"/>
              <a:buNone/>
            </a:pPr>
            <a:r>
              <a:rPr lang="pt-BR" sz="680" b="1" noProof="0" dirty="0">
                <a:solidFill>
                  <a:schemeClr val="bg1"/>
                </a:solidFill>
              </a:rPr>
              <a:t>Classificação: [Público, Confidencial ou </a:t>
            </a:r>
            <a:r>
              <a:rPr lang="pt-BR" sz="680" b="1" baseline="0" noProof="0" dirty="0">
                <a:solidFill>
                  <a:schemeClr val="bg1"/>
                </a:solidFill>
              </a:rPr>
              <a:t>Confidencial de Alto Risco</a:t>
            </a:r>
            <a:r>
              <a:rPr lang="en-US" sz="680" b="1" noProof="0" dirty="0">
                <a:solidFill>
                  <a:schemeClr val="bg1"/>
                </a:solidFill>
              </a:rPr>
              <a:t>]</a:t>
            </a:r>
          </a:p>
          <a:p>
            <a:pPr marL="0" indent="0" algn="ctr">
              <a:spcBef>
                <a:spcPts val="0"/>
              </a:spcBef>
              <a:buSzPct val="100000"/>
              <a:buFont typeface="Arial"/>
              <a:buNone/>
            </a:pPr>
            <a:r>
              <a:rPr lang="pt-BR" sz="680" baseline="0" noProof="0" dirty="0">
                <a:solidFill>
                  <a:schemeClr val="bg1"/>
                </a:solidFill>
              </a:rPr>
              <a:t>Altere conforme o nível de classificação da informação.</a:t>
            </a:r>
          </a:p>
          <a:p>
            <a:pPr marL="0" indent="0" algn="ctr">
              <a:spcBef>
                <a:spcPts val="0"/>
              </a:spcBef>
              <a:buSzPct val="100000"/>
              <a:buFont typeface="Arial"/>
              <a:buNone/>
            </a:pPr>
            <a:r>
              <a:rPr lang="en-US" sz="680" baseline="0" noProof="0" dirty="0">
                <a:solidFill>
                  <a:schemeClr val="bg1"/>
                </a:solidFill>
              </a:rPr>
              <a:t>Clique View &gt; Slide Master &gt; Slide Master.</a:t>
            </a:r>
            <a:endParaRPr lang="pt-BR" sz="68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Copyright">
            <a:extLst>
              <a:ext uri="{FF2B5EF4-FFF2-40B4-BE49-F238E27FC236}">
                <a16:creationId xmlns:a16="http://schemas.microsoft.com/office/drawing/2014/main" id="{451AE415-4055-8343-96EA-D147C174F6B7}"/>
              </a:ext>
            </a:extLst>
          </p:cNvPr>
          <p:cNvSpPr txBox="1"/>
          <p:nvPr userDrawn="1"/>
        </p:nvSpPr>
        <p:spPr>
          <a:xfrm>
            <a:off x="376236" y="6527334"/>
            <a:ext cx="2834640" cy="1046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pt-BR" sz="68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2. Para mais informações, contate a Deloitte Touche </a:t>
            </a:r>
            <a:r>
              <a:rPr lang="pt-BR" sz="680" noProof="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hmatsu</a:t>
            </a:r>
            <a:r>
              <a:rPr lang="pt-BR" sz="68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t-BR" sz="680" noProof="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mited</a:t>
            </a:r>
            <a:r>
              <a:rPr lang="pt-BR" sz="68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en-US" sz="68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05515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864277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8664B59-99B0-4607-AB81-0C00611F11E5}"/>
              </a:ext>
            </a:extLst>
          </p:cNvPr>
          <p:cNvSpPr txBox="1"/>
          <p:nvPr userDrawn="1"/>
        </p:nvSpPr>
        <p:spPr>
          <a:xfrm>
            <a:off x="8536782" y="6477000"/>
            <a:ext cx="2309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8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46AAA731-7E30-4B12-BBD4-F6948EB1025D}"/>
              </a:ext>
            </a:extLst>
          </p:cNvPr>
          <p:cNvSpPr txBox="1"/>
          <p:nvPr userDrawn="1"/>
        </p:nvSpPr>
        <p:spPr>
          <a:xfrm>
            <a:off x="5927510" y="6493477"/>
            <a:ext cx="2496298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4" name="Copyright">
            <a:extLst>
              <a:ext uri="{FF2B5EF4-FFF2-40B4-BE49-F238E27FC236}">
                <a16:creationId xmlns:a16="http://schemas.microsoft.com/office/drawing/2014/main" id="{9C03B641-2865-45B3-982E-B052FD9423EC}"/>
              </a:ext>
            </a:extLst>
          </p:cNvPr>
          <p:cNvSpPr txBox="1"/>
          <p:nvPr userDrawn="1"/>
        </p:nvSpPr>
        <p:spPr>
          <a:xfrm>
            <a:off x="3323851" y="6527334"/>
            <a:ext cx="2496298" cy="32316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indent="0" algn="ctr">
              <a:spcBef>
                <a:spcPts val="0"/>
              </a:spcBef>
              <a:buSzPct val="100000"/>
              <a:buFont typeface="Arial"/>
              <a:buNone/>
            </a:pPr>
            <a:r>
              <a:rPr lang="pt-BR" sz="680" b="1" noProof="0" dirty="0">
                <a:solidFill>
                  <a:schemeClr val="bg1"/>
                </a:solidFill>
              </a:rPr>
              <a:t>Classificação: [Público, Confidencial ou </a:t>
            </a:r>
            <a:r>
              <a:rPr lang="pt-BR" sz="680" b="1" baseline="0" noProof="0" dirty="0">
                <a:solidFill>
                  <a:schemeClr val="bg1"/>
                </a:solidFill>
              </a:rPr>
              <a:t>Confidencial de Alto Risco</a:t>
            </a:r>
            <a:r>
              <a:rPr lang="en-US" sz="680" b="1" noProof="0" dirty="0">
                <a:solidFill>
                  <a:schemeClr val="bg1"/>
                </a:solidFill>
              </a:rPr>
              <a:t>]</a:t>
            </a:r>
          </a:p>
          <a:p>
            <a:pPr marL="0" indent="0" algn="ctr">
              <a:spcBef>
                <a:spcPts val="0"/>
              </a:spcBef>
              <a:buSzPct val="100000"/>
              <a:buFont typeface="Arial"/>
              <a:buNone/>
            </a:pPr>
            <a:r>
              <a:rPr lang="pt-BR" sz="680" baseline="0" noProof="0" dirty="0">
                <a:solidFill>
                  <a:schemeClr val="bg1"/>
                </a:solidFill>
              </a:rPr>
              <a:t>Altere conforme o nível de classificação da informação.</a:t>
            </a:r>
          </a:p>
          <a:p>
            <a:pPr marL="0" indent="0" algn="ctr">
              <a:spcBef>
                <a:spcPts val="0"/>
              </a:spcBef>
              <a:buSzPct val="100000"/>
              <a:buFont typeface="Arial"/>
              <a:buNone/>
            </a:pPr>
            <a:r>
              <a:rPr lang="en-US" sz="680" baseline="0" noProof="0" dirty="0">
                <a:solidFill>
                  <a:schemeClr val="bg1"/>
                </a:solidFill>
              </a:rPr>
              <a:t>Clique View &gt; Slide Master &gt; Slide Master.</a:t>
            </a:r>
            <a:endParaRPr lang="pt-BR" sz="68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83A0B948-B78F-2243-B9BC-6767BBAD4C85}"/>
              </a:ext>
            </a:extLst>
          </p:cNvPr>
          <p:cNvSpPr txBox="1"/>
          <p:nvPr userDrawn="1"/>
        </p:nvSpPr>
        <p:spPr>
          <a:xfrm>
            <a:off x="376236" y="6527334"/>
            <a:ext cx="2834640" cy="1046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pt-BR" sz="68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2. Para mais informações, contate a Deloitte Touche </a:t>
            </a:r>
            <a:r>
              <a:rPr lang="pt-BR" sz="680" noProof="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hmatsu</a:t>
            </a:r>
            <a:r>
              <a:rPr lang="pt-BR" sz="68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t-BR" sz="680" noProof="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mited</a:t>
            </a:r>
            <a:r>
              <a:rPr lang="pt-BR" sz="68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en-US" sz="68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4727092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7200"/>
            <a:ext cx="6958012" cy="475958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56F340E-E341-42BC-9FD9-3D1169A3060A}"/>
              </a:ext>
            </a:extLst>
          </p:cNvPr>
          <p:cNvSpPr txBox="1"/>
          <p:nvPr userDrawn="1"/>
        </p:nvSpPr>
        <p:spPr>
          <a:xfrm>
            <a:off x="8536782" y="6477000"/>
            <a:ext cx="2309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8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D5B165F3-F1CA-4967-B5C8-F8D05F345C7B}"/>
              </a:ext>
            </a:extLst>
          </p:cNvPr>
          <p:cNvSpPr txBox="1"/>
          <p:nvPr userDrawn="1"/>
        </p:nvSpPr>
        <p:spPr>
          <a:xfrm>
            <a:off x="5927510" y="6493477"/>
            <a:ext cx="2496298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4" name="Copyright">
            <a:extLst>
              <a:ext uri="{FF2B5EF4-FFF2-40B4-BE49-F238E27FC236}">
                <a16:creationId xmlns:a16="http://schemas.microsoft.com/office/drawing/2014/main" id="{FD785D95-C002-4235-9111-568F0CD4C81E}"/>
              </a:ext>
            </a:extLst>
          </p:cNvPr>
          <p:cNvSpPr txBox="1"/>
          <p:nvPr userDrawn="1"/>
        </p:nvSpPr>
        <p:spPr>
          <a:xfrm>
            <a:off x="3323851" y="6527334"/>
            <a:ext cx="2496298" cy="32316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indent="0" algn="ctr">
              <a:spcBef>
                <a:spcPts val="0"/>
              </a:spcBef>
              <a:buSzPct val="100000"/>
              <a:buFont typeface="Arial"/>
              <a:buNone/>
            </a:pPr>
            <a:r>
              <a:rPr lang="pt-BR" sz="680" b="1" noProof="0" dirty="0">
                <a:solidFill>
                  <a:schemeClr val="bg1"/>
                </a:solidFill>
              </a:rPr>
              <a:t>Classificação: [Público, Confidencial ou </a:t>
            </a:r>
            <a:r>
              <a:rPr lang="pt-BR" sz="680" b="1" baseline="0" noProof="0" dirty="0">
                <a:solidFill>
                  <a:schemeClr val="bg1"/>
                </a:solidFill>
              </a:rPr>
              <a:t>Confidencial de Alto Risco</a:t>
            </a:r>
            <a:r>
              <a:rPr lang="en-US" sz="680" b="1" noProof="0" dirty="0">
                <a:solidFill>
                  <a:schemeClr val="bg1"/>
                </a:solidFill>
              </a:rPr>
              <a:t>]</a:t>
            </a:r>
          </a:p>
          <a:p>
            <a:pPr marL="0" indent="0" algn="ctr">
              <a:spcBef>
                <a:spcPts val="0"/>
              </a:spcBef>
              <a:buSzPct val="100000"/>
              <a:buFont typeface="Arial"/>
              <a:buNone/>
            </a:pPr>
            <a:r>
              <a:rPr lang="pt-BR" sz="680" baseline="0" noProof="0" dirty="0">
                <a:solidFill>
                  <a:schemeClr val="bg1"/>
                </a:solidFill>
              </a:rPr>
              <a:t>Altere conforme o nível de classificação da informação.</a:t>
            </a:r>
          </a:p>
          <a:p>
            <a:pPr marL="0" indent="0" algn="ctr">
              <a:spcBef>
                <a:spcPts val="0"/>
              </a:spcBef>
              <a:buSzPct val="100000"/>
              <a:buFont typeface="Arial"/>
              <a:buNone/>
            </a:pPr>
            <a:r>
              <a:rPr lang="en-US" sz="680" baseline="0" noProof="0" dirty="0">
                <a:solidFill>
                  <a:schemeClr val="bg1"/>
                </a:solidFill>
              </a:rPr>
              <a:t>Clique View &gt; Slide Master &gt; Slide Master.</a:t>
            </a:r>
            <a:endParaRPr lang="pt-BR" sz="68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96BB40DB-6C8D-6C42-8FED-906EADEDA13C}"/>
              </a:ext>
            </a:extLst>
          </p:cNvPr>
          <p:cNvSpPr txBox="1"/>
          <p:nvPr userDrawn="1"/>
        </p:nvSpPr>
        <p:spPr>
          <a:xfrm>
            <a:off x="376236" y="6527334"/>
            <a:ext cx="2834640" cy="1046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pt-BR" sz="68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2. Para mais informações, contate a Deloitte Touche </a:t>
            </a:r>
            <a:r>
              <a:rPr lang="pt-BR" sz="680" noProof="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hmatsu</a:t>
            </a:r>
            <a:r>
              <a:rPr lang="pt-BR" sz="68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t-BR" sz="680" noProof="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mited</a:t>
            </a:r>
            <a:r>
              <a:rPr lang="pt-BR" sz="68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en-US" sz="68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273707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1516641-9FAF-4932-A6B7-C78CE5DC18CA}"/>
              </a:ext>
            </a:extLst>
          </p:cNvPr>
          <p:cNvSpPr txBox="1"/>
          <p:nvPr userDrawn="1"/>
        </p:nvSpPr>
        <p:spPr>
          <a:xfrm>
            <a:off x="8536782" y="6477000"/>
            <a:ext cx="2309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8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A695F963-3B16-469B-A4DD-BFDB23A56789}"/>
              </a:ext>
            </a:extLst>
          </p:cNvPr>
          <p:cNvSpPr txBox="1"/>
          <p:nvPr userDrawn="1"/>
        </p:nvSpPr>
        <p:spPr>
          <a:xfrm>
            <a:off x="5927510" y="6493477"/>
            <a:ext cx="2496298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4" name="Copyright">
            <a:extLst>
              <a:ext uri="{FF2B5EF4-FFF2-40B4-BE49-F238E27FC236}">
                <a16:creationId xmlns:a16="http://schemas.microsoft.com/office/drawing/2014/main" id="{D37116F2-78F5-4E22-8FF2-596F84447F39}"/>
              </a:ext>
            </a:extLst>
          </p:cNvPr>
          <p:cNvSpPr txBox="1"/>
          <p:nvPr userDrawn="1"/>
        </p:nvSpPr>
        <p:spPr>
          <a:xfrm>
            <a:off x="3323851" y="6527334"/>
            <a:ext cx="2496298" cy="32316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indent="0" algn="ctr">
              <a:spcBef>
                <a:spcPts val="0"/>
              </a:spcBef>
              <a:buSzPct val="100000"/>
              <a:buFont typeface="Arial"/>
              <a:buNone/>
            </a:pPr>
            <a:r>
              <a:rPr lang="pt-BR" sz="680" b="1" noProof="0" dirty="0">
                <a:solidFill>
                  <a:schemeClr val="bg1"/>
                </a:solidFill>
              </a:rPr>
              <a:t>Classificação: [Público, Confidencial ou </a:t>
            </a:r>
            <a:r>
              <a:rPr lang="pt-BR" sz="680" b="1" baseline="0" noProof="0" dirty="0">
                <a:solidFill>
                  <a:schemeClr val="bg1"/>
                </a:solidFill>
              </a:rPr>
              <a:t>Confidencial de Alto Risco</a:t>
            </a:r>
            <a:r>
              <a:rPr lang="en-US" sz="680" b="1" noProof="0" dirty="0">
                <a:solidFill>
                  <a:schemeClr val="bg1"/>
                </a:solidFill>
              </a:rPr>
              <a:t>]</a:t>
            </a:r>
          </a:p>
          <a:p>
            <a:pPr marL="0" indent="0" algn="ctr">
              <a:spcBef>
                <a:spcPts val="0"/>
              </a:spcBef>
              <a:buSzPct val="100000"/>
              <a:buFont typeface="Arial"/>
              <a:buNone/>
            </a:pPr>
            <a:r>
              <a:rPr lang="pt-BR" sz="680" baseline="0" noProof="0" dirty="0">
                <a:solidFill>
                  <a:schemeClr val="bg1"/>
                </a:solidFill>
              </a:rPr>
              <a:t>Altere conforme o nível de classificação da informação.</a:t>
            </a:r>
          </a:p>
          <a:p>
            <a:pPr marL="0" indent="0" algn="ctr">
              <a:spcBef>
                <a:spcPts val="0"/>
              </a:spcBef>
              <a:buSzPct val="100000"/>
              <a:buFont typeface="Arial"/>
              <a:buNone/>
            </a:pPr>
            <a:r>
              <a:rPr lang="en-US" sz="680" baseline="0" noProof="0" dirty="0">
                <a:solidFill>
                  <a:schemeClr val="bg1"/>
                </a:solidFill>
              </a:rPr>
              <a:t>Clique View &gt; Slide Master &gt; Slide Master.</a:t>
            </a:r>
            <a:endParaRPr lang="pt-BR" sz="68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53F083D4-225B-1A4A-98A0-B39ED3EC9F11}"/>
              </a:ext>
            </a:extLst>
          </p:cNvPr>
          <p:cNvSpPr txBox="1"/>
          <p:nvPr userDrawn="1"/>
        </p:nvSpPr>
        <p:spPr>
          <a:xfrm>
            <a:off x="376236" y="6527334"/>
            <a:ext cx="2834640" cy="1046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pt-BR" sz="68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2. Para mais informações, contate a Deloitte Touche </a:t>
            </a:r>
            <a:r>
              <a:rPr lang="pt-BR" sz="680" noProof="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hmatsu</a:t>
            </a:r>
            <a:r>
              <a:rPr lang="pt-BR" sz="68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t-BR" sz="680" noProof="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mited</a:t>
            </a:r>
            <a:r>
              <a:rPr lang="pt-BR" sz="68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en-US" sz="68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7743226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820DDCF-8FE5-48C4-BE93-683B923BBAF4}"/>
              </a:ext>
            </a:extLst>
          </p:cNvPr>
          <p:cNvSpPr txBox="1"/>
          <p:nvPr userDrawn="1"/>
        </p:nvSpPr>
        <p:spPr>
          <a:xfrm>
            <a:off x="8536782" y="6477000"/>
            <a:ext cx="2309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8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CaseCode">
            <a:extLst>
              <a:ext uri="{FF2B5EF4-FFF2-40B4-BE49-F238E27FC236}">
                <a16:creationId xmlns:a16="http://schemas.microsoft.com/office/drawing/2014/main" id="{5EB05C9F-12EE-490B-B2EC-5F0E8B8265BD}"/>
              </a:ext>
            </a:extLst>
          </p:cNvPr>
          <p:cNvSpPr txBox="1"/>
          <p:nvPr userDrawn="1"/>
        </p:nvSpPr>
        <p:spPr>
          <a:xfrm>
            <a:off x="5927510" y="6493477"/>
            <a:ext cx="2496298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8" name="Copyright">
            <a:extLst>
              <a:ext uri="{FF2B5EF4-FFF2-40B4-BE49-F238E27FC236}">
                <a16:creationId xmlns:a16="http://schemas.microsoft.com/office/drawing/2014/main" id="{531693BC-F327-40D9-A382-C1A6C625B409}"/>
              </a:ext>
            </a:extLst>
          </p:cNvPr>
          <p:cNvSpPr txBox="1"/>
          <p:nvPr userDrawn="1"/>
        </p:nvSpPr>
        <p:spPr>
          <a:xfrm>
            <a:off x="3323851" y="6527334"/>
            <a:ext cx="2496298" cy="32316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indent="0" algn="ctr">
              <a:spcBef>
                <a:spcPts val="0"/>
              </a:spcBef>
              <a:buSzPct val="100000"/>
              <a:buFont typeface="Arial"/>
              <a:buNone/>
            </a:pPr>
            <a:r>
              <a:rPr lang="pt-BR" sz="680" b="1" noProof="0" dirty="0">
                <a:solidFill>
                  <a:schemeClr val="bg1"/>
                </a:solidFill>
              </a:rPr>
              <a:t>Classificação: [Público, Confidencial ou </a:t>
            </a:r>
            <a:r>
              <a:rPr lang="pt-BR" sz="680" b="1" baseline="0" noProof="0" dirty="0">
                <a:solidFill>
                  <a:schemeClr val="bg1"/>
                </a:solidFill>
              </a:rPr>
              <a:t>Confidencial de Alto Risco</a:t>
            </a:r>
            <a:r>
              <a:rPr lang="en-US" sz="680" b="1" noProof="0" dirty="0">
                <a:solidFill>
                  <a:schemeClr val="bg1"/>
                </a:solidFill>
              </a:rPr>
              <a:t>]</a:t>
            </a:r>
          </a:p>
          <a:p>
            <a:pPr marL="0" indent="0" algn="ctr">
              <a:spcBef>
                <a:spcPts val="0"/>
              </a:spcBef>
              <a:buSzPct val="100000"/>
              <a:buFont typeface="Arial"/>
              <a:buNone/>
            </a:pPr>
            <a:r>
              <a:rPr lang="pt-BR" sz="680" baseline="0" noProof="0" dirty="0">
                <a:solidFill>
                  <a:schemeClr val="bg1"/>
                </a:solidFill>
              </a:rPr>
              <a:t>Altere conforme o nível de classificação da informação.</a:t>
            </a:r>
          </a:p>
          <a:p>
            <a:pPr marL="0" indent="0" algn="ctr">
              <a:spcBef>
                <a:spcPts val="0"/>
              </a:spcBef>
              <a:buSzPct val="100000"/>
              <a:buFont typeface="Arial"/>
              <a:buNone/>
            </a:pPr>
            <a:r>
              <a:rPr lang="en-US" sz="680" baseline="0" noProof="0" dirty="0">
                <a:solidFill>
                  <a:schemeClr val="bg1"/>
                </a:solidFill>
              </a:rPr>
              <a:t>Clique View &gt; Slide Master &gt; Slide Master.</a:t>
            </a:r>
            <a:endParaRPr lang="pt-BR" sz="68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4F15C70D-EED9-0245-AEAA-06D854AC2BAD}"/>
              </a:ext>
            </a:extLst>
          </p:cNvPr>
          <p:cNvSpPr txBox="1"/>
          <p:nvPr userDrawn="1"/>
        </p:nvSpPr>
        <p:spPr>
          <a:xfrm>
            <a:off x="376236" y="6527334"/>
            <a:ext cx="2834640" cy="1046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pt-BR" sz="68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2. Para mais informações, contate a Deloitte Touche </a:t>
            </a:r>
            <a:r>
              <a:rPr lang="pt-BR" sz="680" noProof="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hmatsu</a:t>
            </a:r>
            <a:r>
              <a:rPr lang="pt-BR" sz="68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t-BR" sz="680" noProof="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mited</a:t>
            </a:r>
            <a:r>
              <a:rPr lang="pt-BR" sz="68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en-US" sz="68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0955678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65288"/>
            <a:ext cx="6958012" cy="471646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2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01681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662889" y="326096"/>
            <a:ext cx="2103120" cy="1027760"/>
          </a:xfrm>
        </p:spPr>
        <p:txBody>
          <a:bodyPr>
            <a:normAutofit/>
          </a:bodyPr>
          <a:lstStyle>
            <a:lvl1pPr>
              <a:spcBef>
                <a:spcPts val="185"/>
              </a:spcBef>
              <a:defRPr sz="800">
                <a:solidFill>
                  <a:schemeClr val="tx1"/>
                </a:solidFill>
              </a:defRPr>
            </a:lvl1pPr>
            <a:lvl2pPr>
              <a:defRPr sz="969">
                <a:solidFill>
                  <a:schemeClr val="tx2"/>
                </a:solidFill>
              </a:defRPr>
            </a:lvl2pPr>
            <a:lvl3pPr>
              <a:defRPr sz="969">
                <a:solidFill>
                  <a:schemeClr val="tx2"/>
                </a:solidFill>
              </a:defRPr>
            </a:lvl3pPr>
            <a:lvl4pPr>
              <a:defRPr sz="923">
                <a:solidFill>
                  <a:schemeClr val="tx2"/>
                </a:solidFill>
              </a:defRPr>
            </a:lvl4pPr>
            <a:lvl5pPr>
              <a:defRPr sz="923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94189" y="1680335"/>
            <a:ext cx="2074691" cy="4701415"/>
          </a:xfrm>
        </p:spPr>
        <p:txBody>
          <a:bodyPr/>
          <a:lstStyle>
            <a:lvl1pPr>
              <a:spcBef>
                <a:spcPts val="0"/>
              </a:spcBef>
              <a:spcAft>
                <a:spcPts val="554"/>
              </a:spcAft>
              <a:defRPr sz="969"/>
            </a:lvl1pPr>
            <a:lvl2pPr>
              <a:spcBef>
                <a:spcPts val="277"/>
              </a:spcBef>
              <a:defRPr/>
            </a:lvl2pPr>
            <a:lvl3pPr>
              <a:spcBef>
                <a:spcPts val="277"/>
              </a:spcBef>
              <a:defRPr/>
            </a:lvl3pPr>
            <a:lvl4pPr>
              <a:spcBef>
                <a:spcPts val="277"/>
              </a:spcBef>
              <a:defRPr/>
            </a:lvl4pPr>
            <a:lvl5pPr>
              <a:spcBef>
                <a:spcPts val="277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835276" y="1680333"/>
            <a:ext cx="5932487" cy="4701415"/>
          </a:xfrm>
        </p:spPr>
        <p:txBody>
          <a:bodyPr/>
          <a:lstStyle>
            <a:lvl1pPr>
              <a:spcBef>
                <a:spcPts val="1662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AA751F6-96CD-4D47-9334-26CB35377F81}"/>
              </a:ext>
            </a:extLst>
          </p:cNvPr>
          <p:cNvGrpSpPr/>
          <p:nvPr/>
        </p:nvGrpSpPr>
        <p:grpSpPr>
          <a:xfrm>
            <a:off x="377991" y="328305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208AFD29-2473-4B74-B317-20817E37D1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34A35AAC-FF34-4B4D-B2F4-E62F3556D1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3A260268-5F2D-4ED9-BC62-469BD612FB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B89B9D2F-BC9E-4F1B-8627-B2EF4F0C6B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2B0A675B-0F0F-403D-BC22-B4B8F27289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9471D3B0-20F4-47CE-8982-C04B5F3D91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1A3CB533-5498-4F6B-BF48-FF0372CE9F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3C454093-5492-4277-8415-5B9CB1FF98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F749E689-4E6D-481F-99B3-D26F79BE39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C9A105F6-34CE-4A24-8EB2-0393846755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29536682"/>
      </p:ext>
    </p:extLst>
  </p:cSld>
  <p:clrMapOvr>
    <a:masterClrMapping/>
  </p:clrMapOvr>
  <p:transition>
    <p:fade/>
  </p:transition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6958012" cy="4716463"/>
          </a:xfrm>
          <a:prstGeom prst="rect">
            <a:avLst/>
          </a:prstGeom>
        </p:spPr>
        <p:txBody>
          <a:bodyPr/>
          <a:lstStyle>
            <a:lvl1pPr>
              <a:tabLst>
                <a:tab pos="6729413" algn="r"/>
              </a:tabLst>
              <a:defRPr>
                <a:latin typeface="+mn-lt"/>
              </a:defRPr>
            </a:lvl1pPr>
            <a:lvl2pPr>
              <a:tabLst>
                <a:tab pos="6729413" algn="r"/>
              </a:tabLst>
              <a:defRPr>
                <a:latin typeface="+mj-lt"/>
              </a:defRPr>
            </a:lvl2pPr>
            <a:lvl3pPr>
              <a:tabLst>
                <a:tab pos="6729413" algn="r"/>
              </a:tabLst>
              <a:defRPr>
                <a:latin typeface="+mn-lt"/>
              </a:defRPr>
            </a:lvl3pPr>
            <a:lvl4pPr>
              <a:tabLst>
                <a:tab pos="6729413" algn="r"/>
              </a:tabLst>
              <a:defRPr>
                <a:latin typeface="+mn-lt"/>
              </a:defRPr>
            </a:lvl4pPr>
            <a:lvl5pPr>
              <a:tabLst>
                <a:tab pos="5029200" algn="r"/>
              </a:tabLst>
              <a:defRPr baseline="0">
                <a:latin typeface="+mn-lt"/>
              </a:defRPr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9" y="317499"/>
            <a:ext cx="8385174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80053864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087763" y="1665288"/>
            <a:ext cx="4680000" cy="4716463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342322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>
                <a:latin typeface="+mn-lt"/>
              </a:defRPr>
            </a:lvl1pPr>
            <a:lvl2pPr>
              <a:tabLst>
                <a:tab pos="5029200" algn="r"/>
              </a:tabLst>
              <a:defRPr>
                <a:latin typeface="+mj-lt"/>
              </a:defRPr>
            </a:lvl2pPr>
            <a:lvl3pPr>
              <a:tabLst>
                <a:tab pos="5029200" algn="r"/>
              </a:tabLst>
              <a:defRPr>
                <a:latin typeface="+mn-lt"/>
              </a:defRPr>
            </a:lvl3pPr>
            <a:lvl4pPr>
              <a:tabLst>
                <a:tab pos="5029200" algn="r"/>
              </a:tabLst>
              <a:defRPr>
                <a:latin typeface="+mn-lt"/>
              </a:defRPr>
            </a:lvl4pPr>
            <a:lvl5pPr>
              <a:tabLst>
                <a:tab pos="5029200" algn="r"/>
              </a:tabLst>
              <a:defRPr baseline="0">
                <a:latin typeface="+mn-lt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53334438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64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>
                <a:latin typeface="+mn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39011779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79392" y="727200"/>
            <a:ext cx="54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BCC57948-30CD-423D-86E9-8346E76D8C1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7472" y="6365848"/>
            <a:ext cx="3334702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7CAE316C-708C-4E70-8894-2FF0C0C3A9ED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347472" y="5186208"/>
            <a:ext cx="3334702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927739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39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9255275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690274"/>
            <a:ext cx="8374062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0885628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76239" y="2037523"/>
            <a:ext cx="8391524" cy="408349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6239" y="1680335"/>
            <a:ext cx="8391524" cy="357187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8" y="6121013"/>
            <a:ext cx="8391525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79562077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78000" y="2091755"/>
            <a:ext cx="2662162" cy="40231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6237" y="1679023"/>
            <a:ext cx="2671763" cy="39211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227388" y="2091755"/>
            <a:ext cx="2671212" cy="40231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227388" y="1679023"/>
            <a:ext cx="2671211" cy="39211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094797" y="2091755"/>
            <a:ext cx="2672965" cy="40231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094797" y="1679023"/>
            <a:ext cx="2672966" cy="398256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7" y="6121013"/>
            <a:ext cx="8374064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000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31058526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499"/>
            <a:ext cx="840200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40200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75227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4" y="1675227"/>
            <a:ext cx="3992086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1543689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500"/>
            <a:ext cx="8391525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979185" cy="471646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7999" y="1665288"/>
            <a:ext cx="3979763" cy="471646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02817931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665288"/>
            <a:ext cx="4016374" cy="4455725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755917" y="2125013"/>
            <a:ext cx="4011846" cy="3996000"/>
          </a:xfr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5917" y="1665288"/>
            <a:ext cx="4011846" cy="420687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7" y="6121013"/>
            <a:ext cx="8391525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0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88890066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755915" y="2125013"/>
            <a:ext cx="4011847" cy="39960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5916" y="1665288"/>
            <a:ext cx="4011847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7" y="6121013"/>
            <a:ext cx="8374064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376238" y="2125013"/>
            <a:ext cx="4004297" cy="39960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376237" y="1665288"/>
            <a:ext cx="4004298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2235708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9" y="317499"/>
            <a:ext cx="8391524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323893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087762" y="1665287"/>
            <a:ext cx="4680000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167614324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0"/>
            <a:ext cx="8391525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683411" y="1658680"/>
            <a:ext cx="3084351" cy="472307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21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376238" y="1665288"/>
            <a:ext cx="4879761" cy="4716462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391524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504222274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 Page Image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oup 20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  <p:sp>
        <p:nvSpPr>
          <p:cNvPr id="24" name="Picture Placeholder 8">
            <a:extLst>
              <a:ext uri="{FF2B5EF4-FFF2-40B4-BE49-F238E27FC236}">
                <a16:creationId xmlns:a16="http://schemas.microsoft.com/office/drawing/2014/main" id="{4099E7F5-8CC9-4249-910F-2B4DEA59CAC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144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73D70EEA-2BD1-4514-B86F-BFA521F3195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7472" y="6364224"/>
            <a:ext cx="3334702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013E185D-A9D1-496F-A603-829D734502E6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347472" y="5186208"/>
            <a:ext cx="3334702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FD3E4B0-F2BD-459E-BCF3-24997E6E6EC8}"/>
              </a:ext>
            </a:extLst>
          </p:cNvPr>
          <p:cNvCxnSpPr/>
          <p:nvPr userDrawn="1"/>
        </p:nvCxnSpPr>
        <p:spPr>
          <a:xfrm flipV="1">
            <a:off x="0" y="0"/>
            <a:ext cx="9144000" cy="685800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885193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6985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76237" y="1680335"/>
            <a:ext cx="203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2495412" y="1680335"/>
            <a:ext cx="203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614587" y="1680335"/>
            <a:ext cx="203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6733763" y="1680335"/>
            <a:ext cx="203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6237" y="3124200"/>
            <a:ext cx="2040351" cy="325754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12472" y="3120550"/>
            <a:ext cx="2034000" cy="326119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497530" y="3124199"/>
            <a:ext cx="2034000" cy="325754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744876" y="3108508"/>
            <a:ext cx="2022887" cy="327324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376237" y="651600"/>
            <a:ext cx="83915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809039880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378000" y="1707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668064" y="1700213"/>
            <a:ext cx="4106300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78000" y="4065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668064" y="4065173"/>
            <a:ext cx="41063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78000" y="1880213"/>
            <a:ext cx="1476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68064" y="1880213"/>
            <a:ext cx="1476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78000" y="4256213"/>
            <a:ext cx="1476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68064" y="4256213"/>
            <a:ext cx="1476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12612" y="1880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sz="1200" b="1"/>
            </a:lvl1pPr>
            <a:lvl2pPr>
              <a:spcAft>
                <a:spcPts val="0"/>
              </a:spcAft>
              <a:defRPr sz="1200"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297420" y="1880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sz="1200" b="1"/>
            </a:lvl1pPr>
            <a:lvl2pPr>
              <a:spcAft>
                <a:spcPts val="0"/>
              </a:spcAft>
              <a:defRPr sz="1200"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12612" y="4256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sz="1200" b="1"/>
            </a:lvl1pPr>
            <a:lvl2pPr>
              <a:spcAft>
                <a:spcPts val="0"/>
              </a:spcAft>
              <a:defRPr sz="1200"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297420" y="4256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sz="1200" b="1"/>
            </a:lvl1pPr>
            <a:lvl2pPr>
              <a:spcAft>
                <a:spcPts val="0"/>
              </a:spcAft>
              <a:defRPr sz="1200"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57C8BC8-2C41-4934-B891-320BE4AD3F53}"/>
              </a:ext>
            </a:extLst>
          </p:cNvPr>
          <p:cNvSpPr/>
          <p:nvPr userDrawn="1"/>
        </p:nvSpPr>
        <p:spPr>
          <a:xfrm>
            <a:off x="378000" y="1707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D793FA6-0AA2-4CEB-9B64-DD5A2304B621}"/>
              </a:ext>
            </a:extLst>
          </p:cNvPr>
          <p:cNvSpPr/>
          <p:nvPr userDrawn="1"/>
        </p:nvSpPr>
        <p:spPr>
          <a:xfrm>
            <a:off x="4668064" y="1700213"/>
            <a:ext cx="4106300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17C4270-7EE5-4379-8B7E-0C841D29E963}"/>
              </a:ext>
            </a:extLst>
          </p:cNvPr>
          <p:cNvSpPr/>
          <p:nvPr userDrawn="1"/>
        </p:nvSpPr>
        <p:spPr>
          <a:xfrm>
            <a:off x="378000" y="4065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45803FB-712A-48A6-91A8-883A0268B097}"/>
              </a:ext>
            </a:extLst>
          </p:cNvPr>
          <p:cNvSpPr/>
          <p:nvPr userDrawn="1"/>
        </p:nvSpPr>
        <p:spPr>
          <a:xfrm>
            <a:off x="4668064" y="4065173"/>
            <a:ext cx="41063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8265428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4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76238" y="1680335"/>
            <a:ext cx="2771775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04798" y="1680335"/>
            <a:ext cx="2762965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3204806" y="1680335"/>
            <a:ext cx="27432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376238" y="3832225"/>
            <a:ext cx="2762962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3200400" y="3832225"/>
            <a:ext cx="2743200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6004798" y="3832225"/>
            <a:ext cx="2762965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422945844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67615496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1828075"/>
            <a:ext cx="4100118" cy="1695450"/>
          </a:xfrm>
        </p:spPr>
        <p:txBody>
          <a:bodyPr>
            <a:normAutofit/>
          </a:bodyPr>
          <a:lstStyle>
            <a:lvl1pPr>
              <a:spcAft>
                <a:spcPts val="1000"/>
              </a:spcAft>
              <a:defRPr sz="1200"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 sz="1200"/>
            </a:lvl2pPr>
            <a:lvl3pPr marL="0" indent="0">
              <a:spcAft>
                <a:spcPts val="1000"/>
              </a:spcAft>
              <a:buNone/>
              <a:defRPr sz="1200"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 sz="1200"/>
            </a:lvl4pPr>
            <a:lvl5pPr marL="356400" indent="-176400">
              <a:spcAft>
                <a:spcPts val="1000"/>
              </a:spcAft>
              <a:defRPr sz="1200"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84646" y="1828075"/>
            <a:ext cx="4083117" cy="1695450"/>
          </a:xfrm>
        </p:spPr>
        <p:txBody>
          <a:bodyPr>
            <a:normAutofit/>
          </a:bodyPr>
          <a:lstStyle>
            <a:lvl1pPr>
              <a:spcAft>
                <a:spcPts val="1000"/>
              </a:spcAft>
              <a:defRPr sz="1200"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 sz="1200"/>
            </a:lvl2pPr>
            <a:lvl3pPr marL="0" indent="0">
              <a:spcAft>
                <a:spcPts val="1000"/>
              </a:spcAft>
              <a:buNone/>
              <a:defRPr sz="1200"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 sz="1200"/>
            </a:lvl4pPr>
            <a:lvl5pPr marL="356400" indent="-176400">
              <a:spcAft>
                <a:spcPts val="1000"/>
              </a:spcAft>
              <a:defRPr sz="1200"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4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378000" y="1705378"/>
            <a:ext cx="41001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684646" y="1705378"/>
            <a:ext cx="40897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77118" y="1828075"/>
            <a:ext cx="907655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28401" y="1828075"/>
            <a:ext cx="93312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8BD43C7-66CA-43C7-A7BC-9DC4BE83E2B3}"/>
              </a:ext>
            </a:extLst>
          </p:cNvPr>
          <p:cNvSpPr/>
          <p:nvPr userDrawn="1"/>
        </p:nvSpPr>
        <p:spPr>
          <a:xfrm>
            <a:off x="378000" y="1675561"/>
            <a:ext cx="41001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A6A4FE7-B5F4-46BD-9FC9-5C5CC9BBC103}"/>
              </a:ext>
            </a:extLst>
          </p:cNvPr>
          <p:cNvSpPr/>
          <p:nvPr userDrawn="1"/>
        </p:nvSpPr>
        <p:spPr>
          <a:xfrm>
            <a:off x="4684646" y="1675561"/>
            <a:ext cx="40897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6947599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87939" y="1828075"/>
            <a:ext cx="4101706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94585" y="1828075"/>
            <a:ext cx="4091001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78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Rectangle 3"/>
          <p:cNvSpPr/>
          <p:nvPr/>
        </p:nvSpPr>
        <p:spPr>
          <a:xfrm>
            <a:off x="378000" y="1705378"/>
            <a:ext cx="41001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684646" y="1705378"/>
            <a:ext cx="40897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18462" y="1857892"/>
            <a:ext cx="93312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378000" y="4249682"/>
            <a:ext cx="4100118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4684645" y="4249682"/>
            <a:ext cx="4089719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Rectangle 11"/>
          <p:cNvSpPr/>
          <p:nvPr/>
        </p:nvSpPr>
        <p:spPr>
          <a:xfrm>
            <a:off x="378000" y="4103518"/>
            <a:ext cx="410170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684645" y="4103518"/>
            <a:ext cx="408353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3565870" y="4255706"/>
            <a:ext cx="929536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7818463" y="4249682"/>
            <a:ext cx="93312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81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77118" y="1863916"/>
            <a:ext cx="907655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093841A-6E59-4AC1-BC14-4A4E17E08A42}"/>
              </a:ext>
            </a:extLst>
          </p:cNvPr>
          <p:cNvSpPr/>
          <p:nvPr userDrawn="1"/>
        </p:nvSpPr>
        <p:spPr>
          <a:xfrm>
            <a:off x="387939" y="1675561"/>
            <a:ext cx="41001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24CEDDB-396E-4148-826E-D14A85D80D6E}"/>
              </a:ext>
            </a:extLst>
          </p:cNvPr>
          <p:cNvSpPr/>
          <p:nvPr userDrawn="1"/>
        </p:nvSpPr>
        <p:spPr>
          <a:xfrm>
            <a:off x="4694585" y="1675561"/>
            <a:ext cx="40897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621D326-468B-4E23-9F22-08DFC256F2D2}"/>
              </a:ext>
            </a:extLst>
          </p:cNvPr>
          <p:cNvSpPr/>
          <p:nvPr userDrawn="1"/>
        </p:nvSpPr>
        <p:spPr>
          <a:xfrm>
            <a:off x="378000" y="4103518"/>
            <a:ext cx="410170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DE2B4B5-15C4-4CA4-A176-6748D91C5A2B}"/>
              </a:ext>
            </a:extLst>
          </p:cNvPr>
          <p:cNvSpPr/>
          <p:nvPr userDrawn="1"/>
        </p:nvSpPr>
        <p:spPr>
          <a:xfrm>
            <a:off x="4684645" y="4103518"/>
            <a:ext cx="408353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014299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3240000" y="1705968"/>
            <a:ext cx="266708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78000" y="1700213"/>
            <a:ext cx="2670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086475" y="1705968"/>
            <a:ext cx="268789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44283" y="1821624"/>
            <a:ext cx="265543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0" y="1831563"/>
            <a:ext cx="267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95999" y="1821624"/>
            <a:ext cx="2678365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FEA074D-3401-4741-81AF-616BBE646C16}"/>
              </a:ext>
            </a:extLst>
          </p:cNvPr>
          <p:cNvSpPr/>
          <p:nvPr userDrawn="1"/>
        </p:nvSpPr>
        <p:spPr>
          <a:xfrm>
            <a:off x="3240000" y="1676151"/>
            <a:ext cx="266708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B8A1B9A-A094-46CA-AC3C-1877FE75A2E4}"/>
              </a:ext>
            </a:extLst>
          </p:cNvPr>
          <p:cNvSpPr/>
          <p:nvPr userDrawn="1"/>
        </p:nvSpPr>
        <p:spPr>
          <a:xfrm>
            <a:off x="378000" y="1680335"/>
            <a:ext cx="2670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4619F1B-93B2-4ACB-907C-E98903EF7B7B}"/>
              </a:ext>
            </a:extLst>
          </p:cNvPr>
          <p:cNvSpPr/>
          <p:nvPr userDrawn="1"/>
        </p:nvSpPr>
        <p:spPr>
          <a:xfrm>
            <a:off x="6086475" y="1676151"/>
            <a:ext cx="268789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7775540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705184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22627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26209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74418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75547862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7" y="317500"/>
            <a:ext cx="8391526" cy="37019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25564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27188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76376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87694"/>
            <a:ext cx="83915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195B73D-AF8A-44A4-BDD4-69A1B06EA215}"/>
              </a:ext>
            </a:extLst>
          </p:cNvPr>
          <p:cNvSpPr txBox="1"/>
          <p:nvPr userDrawn="1"/>
        </p:nvSpPr>
        <p:spPr>
          <a:xfrm>
            <a:off x="8536782" y="6477000"/>
            <a:ext cx="2309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8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CaseCode">
            <a:extLst>
              <a:ext uri="{FF2B5EF4-FFF2-40B4-BE49-F238E27FC236}">
                <a16:creationId xmlns:a16="http://schemas.microsoft.com/office/drawing/2014/main" id="{7A2DE0CE-9776-42C9-9BB7-53E067E6B574}"/>
              </a:ext>
            </a:extLst>
          </p:cNvPr>
          <p:cNvSpPr txBox="1"/>
          <p:nvPr userDrawn="1"/>
        </p:nvSpPr>
        <p:spPr>
          <a:xfrm>
            <a:off x="5927510" y="6493477"/>
            <a:ext cx="2496298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8" name="Copyright">
            <a:extLst>
              <a:ext uri="{FF2B5EF4-FFF2-40B4-BE49-F238E27FC236}">
                <a16:creationId xmlns:a16="http://schemas.microsoft.com/office/drawing/2014/main" id="{39F13703-E653-4044-8107-D1952CD08476}"/>
              </a:ext>
            </a:extLst>
          </p:cNvPr>
          <p:cNvSpPr txBox="1"/>
          <p:nvPr userDrawn="1"/>
        </p:nvSpPr>
        <p:spPr>
          <a:xfrm>
            <a:off x="376236" y="6527334"/>
            <a:ext cx="2834640" cy="1046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pt-BR" sz="68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2. Para mais informações, contate a Deloitte Touche </a:t>
            </a:r>
            <a:r>
              <a:rPr lang="pt-BR" sz="680" noProof="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hmatsu</a:t>
            </a:r>
            <a:r>
              <a:rPr lang="pt-BR" sz="68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t-BR" sz="680" noProof="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mited</a:t>
            </a:r>
            <a:r>
              <a:rPr lang="pt-BR" sz="68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en-US" sz="68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Copyright">
            <a:extLst>
              <a:ext uri="{FF2B5EF4-FFF2-40B4-BE49-F238E27FC236}">
                <a16:creationId xmlns:a16="http://schemas.microsoft.com/office/drawing/2014/main" id="{C46BB23A-79EA-492A-9A93-015481A5EF03}"/>
              </a:ext>
            </a:extLst>
          </p:cNvPr>
          <p:cNvSpPr txBox="1"/>
          <p:nvPr userDrawn="1"/>
        </p:nvSpPr>
        <p:spPr>
          <a:xfrm>
            <a:off x="3323851" y="6527334"/>
            <a:ext cx="2496298" cy="32316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indent="0" algn="ctr">
              <a:spcBef>
                <a:spcPts val="0"/>
              </a:spcBef>
              <a:buSzPct val="100000"/>
              <a:buFont typeface="Arial"/>
              <a:buNone/>
            </a:pPr>
            <a:r>
              <a:rPr lang="pt-BR" sz="680" b="1" noProof="0" dirty="0">
                <a:solidFill>
                  <a:schemeClr val="bg1"/>
                </a:solidFill>
              </a:rPr>
              <a:t>Classificação: [Público, Confidencial ou </a:t>
            </a:r>
            <a:r>
              <a:rPr lang="pt-BR" sz="680" b="1" baseline="0" noProof="0" dirty="0">
                <a:solidFill>
                  <a:schemeClr val="bg1"/>
                </a:solidFill>
              </a:rPr>
              <a:t>Confidencial de Alto Risco</a:t>
            </a:r>
            <a:r>
              <a:rPr lang="en-US" sz="680" b="1" noProof="0" dirty="0">
                <a:solidFill>
                  <a:schemeClr val="bg1"/>
                </a:solidFill>
              </a:rPr>
              <a:t>]</a:t>
            </a:r>
          </a:p>
          <a:p>
            <a:pPr marL="0" indent="0" algn="ctr">
              <a:spcBef>
                <a:spcPts val="0"/>
              </a:spcBef>
              <a:buSzPct val="100000"/>
              <a:buFont typeface="Arial"/>
              <a:buNone/>
            </a:pPr>
            <a:r>
              <a:rPr lang="pt-BR" sz="680" baseline="0" noProof="0" dirty="0">
                <a:solidFill>
                  <a:schemeClr val="bg1"/>
                </a:solidFill>
              </a:rPr>
              <a:t>Altere conforme o nível de classificação da informação.</a:t>
            </a:r>
          </a:p>
          <a:p>
            <a:pPr marL="0" indent="0" algn="ctr">
              <a:spcBef>
                <a:spcPts val="0"/>
              </a:spcBef>
              <a:buSzPct val="100000"/>
              <a:buFont typeface="Arial"/>
              <a:buNone/>
            </a:pPr>
            <a:r>
              <a:rPr lang="en-US" sz="680" baseline="0" noProof="0" dirty="0">
                <a:solidFill>
                  <a:schemeClr val="bg1"/>
                </a:solidFill>
              </a:rPr>
              <a:t>Clique View &gt; Slide Master &gt; Slide Master.</a:t>
            </a:r>
            <a:endParaRPr lang="pt-BR" sz="68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9640541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376237" y="1665288"/>
            <a:ext cx="4195763" cy="47164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1942827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  <p:sp>
        <p:nvSpPr>
          <p:cNvPr id="19" name="Title 1">
            <a:extLst>
              <a:ext uri="{FF2B5EF4-FFF2-40B4-BE49-F238E27FC236}">
                <a16:creationId xmlns:a16="http://schemas.microsoft.com/office/drawing/2014/main" id="{5DE4F008-7672-400A-A7AC-DF702BBF131B}"/>
              </a:ext>
            </a:extLst>
          </p:cNvPr>
          <p:cNvSpPr txBox="1">
            <a:spLocks/>
          </p:cNvSpPr>
          <p:nvPr userDrawn="1"/>
        </p:nvSpPr>
        <p:spPr bwMode="gray">
          <a:xfrm>
            <a:off x="342900" y="5186208"/>
            <a:ext cx="3368041" cy="89598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sz="3200" b="0" kern="120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00BC111-3581-495C-AE86-F7BB2792E29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2900" y="6365848"/>
            <a:ext cx="3368041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5816280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46460872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0359205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End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1D17BFC3-2A9C-4DC6-A8F9-5A12A7AD902E}"/>
              </a:ext>
            </a:extLst>
          </p:cNvPr>
          <p:cNvGrpSpPr>
            <a:grpSpLocks noChangeAspect="1"/>
          </p:cNvGrpSpPr>
          <p:nvPr/>
        </p:nvGrpSpPr>
        <p:grpSpPr>
          <a:xfrm>
            <a:off x="374904" y="325209"/>
            <a:ext cx="1618488" cy="303284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FC4A5099-C2A9-4238-8462-F6DD53BE8D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DA04BF6B-C7FB-492E-ADC5-C8D0B35565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14D2D705-0E89-49E7-904D-B19DEA0D61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72608037-8C36-4FDF-8649-68474055E4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Rectangle 9">
              <a:extLst>
                <a:ext uri="{FF2B5EF4-FFF2-40B4-BE49-F238E27FC236}">
                  <a16:creationId xmlns:a16="http://schemas.microsoft.com/office/drawing/2014/main" id="{88DE3F89-5064-420A-9400-E9D3EDB161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>
              <a:extLst>
                <a:ext uri="{FF2B5EF4-FFF2-40B4-BE49-F238E27FC236}">
                  <a16:creationId xmlns:a16="http://schemas.microsoft.com/office/drawing/2014/main" id="{6E22AD9C-EE72-4F5E-9A94-C465F82218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F8716950-6EF8-4707-BE9F-17C1253A3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39DA23AC-3618-428F-B090-148A81D139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6111C4D2-34B0-4F91-B8D7-DD8111D0CD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B75D5820-359A-4451-9568-D8E3E2866B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211955"/>
            <a:ext cx="6396702" cy="2169796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7028135" y="4211955"/>
            <a:ext cx="1739627" cy="1725448"/>
          </a:xfrm>
        </p:spPr>
        <p:txBody>
          <a:bodyPr anchor="ctr" anchorCtr="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 sz="900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7028137" y="6018028"/>
            <a:ext cx="1739626" cy="363722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1569324"/>
      </p:ext>
    </p:extLst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906173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733F86C-BEA3-42AB-9C1A-A03F62B7095D}"/>
              </a:ext>
            </a:extLst>
          </p:cNvPr>
          <p:cNvSpPr txBox="1"/>
          <p:nvPr userDrawn="1"/>
        </p:nvSpPr>
        <p:spPr>
          <a:xfrm>
            <a:off x="8536782" y="6477000"/>
            <a:ext cx="2309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8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CaseCode">
            <a:extLst>
              <a:ext uri="{FF2B5EF4-FFF2-40B4-BE49-F238E27FC236}">
                <a16:creationId xmlns:a16="http://schemas.microsoft.com/office/drawing/2014/main" id="{A85278F8-06B8-4F74-85E7-85D966E505EC}"/>
              </a:ext>
            </a:extLst>
          </p:cNvPr>
          <p:cNvSpPr txBox="1"/>
          <p:nvPr userDrawn="1"/>
        </p:nvSpPr>
        <p:spPr>
          <a:xfrm>
            <a:off x="5927510" y="6493477"/>
            <a:ext cx="2496298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5" name="Copyright">
            <a:extLst>
              <a:ext uri="{FF2B5EF4-FFF2-40B4-BE49-F238E27FC236}">
                <a16:creationId xmlns:a16="http://schemas.microsoft.com/office/drawing/2014/main" id="{FA1AE021-7201-4B0A-BCA0-24DA46FA113A}"/>
              </a:ext>
            </a:extLst>
          </p:cNvPr>
          <p:cNvSpPr txBox="1"/>
          <p:nvPr userDrawn="1"/>
        </p:nvSpPr>
        <p:spPr>
          <a:xfrm>
            <a:off x="3323851" y="6527334"/>
            <a:ext cx="2496298" cy="32316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indent="0" algn="ctr">
              <a:spcBef>
                <a:spcPts val="0"/>
              </a:spcBef>
              <a:buSzPct val="100000"/>
              <a:buFont typeface="Arial"/>
              <a:buNone/>
            </a:pPr>
            <a:r>
              <a:rPr lang="pt-BR" sz="680" b="1" noProof="0" dirty="0">
                <a:solidFill>
                  <a:schemeClr val="bg1"/>
                </a:solidFill>
              </a:rPr>
              <a:t>Classificação: [Público, Confidencial ou </a:t>
            </a:r>
            <a:r>
              <a:rPr lang="pt-BR" sz="680" b="1" baseline="0" noProof="0" dirty="0">
                <a:solidFill>
                  <a:schemeClr val="bg1"/>
                </a:solidFill>
              </a:rPr>
              <a:t>Confidencial de Alto Risco</a:t>
            </a:r>
            <a:r>
              <a:rPr lang="en-US" sz="680" b="1" noProof="0" dirty="0">
                <a:solidFill>
                  <a:schemeClr val="bg1"/>
                </a:solidFill>
              </a:rPr>
              <a:t>]</a:t>
            </a:r>
          </a:p>
          <a:p>
            <a:pPr marL="0" indent="0" algn="ctr">
              <a:spcBef>
                <a:spcPts val="0"/>
              </a:spcBef>
              <a:buSzPct val="100000"/>
              <a:buFont typeface="Arial"/>
              <a:buNone/>
            </a:pPr>
            <a:r>
              <a:rPr lang="pt-BR" sz="680" baseline="0" noProof="0" dirty="0">
                <a:solidFill>
                  <a:schemeClr val="bg1"/>
                </a:solidFill>
              </a:rPr>
              <a:t>Altere conforme o nível de classificação da informação.</a:t>
            </a:r>
          </a:p>
          <a:p>
            <a:pPr marL="0" indent="0" algn="ctr">
              <a:spcBef>
                <a:spcPts val="0"/>
              </a:spcBef>
              <a:buSzPct val="100000"/>
              <a:buFont typeface="Arial"/>
              <a:buNone/>
            </a:pPr>
            <a:r>
              <a:rPr lang="en-US" sz="680" baseline="0" noProof="0" dirty="0">
                <a:solidFill>
                  <a:schemeClr val="bg1"/>
                </a:solidFill>
              </a:rPr>
              <a:t>Clique View &gt; Slide Master &gt; Slide Master.</a:t>
            </a:r>
            <a:endParaRPr lang="pt-BR" sz="68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24E54B6B-97BC-5441-A99F-ADF8EDE0ADC8}"/>
              </a:ext>
            </a:extLst>
          </p:cNvPr>
          <p:cNvSpPr txBox="1"/>
          <p:nvPr userDrawn="1"/>
        </p:nvSpPr>
        <p:spPr>
          <a:xfrm>
            <a:off x="376236" y="6527334"/>
            <a:ext cx="2834640" cy="1046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pt-BR" sz="68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2. Para mais informações, contate a Deloitte Touche </a:t>
            </a:r>
            <a:r>
              <a:rPr lang="pt-BR" sz="680" noProof="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hmatsu</a:t>
            </a:r>
            <a:r>
              <a:rPr lang="pt-BR" sz="68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t-BR" sz="680" noProof="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mited</a:t>
            </a:r>
            <a:r>
              <a:rPr lang="pt-BR" sz="68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en-US" sz="68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237144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1048260-1325-4311-8604-7D28D377A66D}"/>
              </a:ext>
            </a:extLst>
          </p:cNvPr>
          <p:cNvSpPr txBox="1"/>
          <p:nvPr userDrawn="1"/>
        </p:nvSpPr>
        <p:spPr>
          <a:xfrm>
            <a:off x="8536782" y="6477000"/>
            <a:ext cx="2309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8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CaseCode">
            <a:extLst>
              <a:ext uri="{FF2B5EF4-FFF2-40B4-BE49-F238E27FC236}">
                <a16:creationId xmlns:a16="http://schemas.microsoft.com/office/drawing/2014/main" id="{8035C7F6-2C1B-45FE-9714-BF4F5AD9452C}"/>
              </a:ext>
            </a:extLst>
          </p:cNvPr>
          <p:cNvSpPr txBox="1"/>
          <p:nvPr userDrawn="1"/>
        </p:nvSpPr>
        <p:spPr>
          <a:xfrm>
            <a:off x="5927510" y="6493477"/>
            <a:ext cx="2496298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5" name="Copyright">
            <a:extLst>
              <a:ext uri="{FF2B5EF4-FFF2-40B4-BE49-F238E27FC236}">
                <a16:creationId xmlns:a16="http://schemas.microsoft.com/office/drawing/2014/main" id="{1A76F717-8590-4449-A04F-A36B18E5631D}"/>
              </a:ext>
            </a:extLst>
          </p:cNvPr>
          <p:cNvSpPr txBox="1"/>
          <p:nvPr userDrawn="1"/>
        </p:nvSpPr>
        <p:spPr>
          <a:xfrm>
            <a:off x="3323851" y="6527334"/>
            <a:ext cx="2496298" cy="32316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indent="0" algn="ctr">
              <a:spcBef>
                <a:spcPts val="0"/>
              </a:spcBef>
              <a:buSzPct val="100000"/>
              <a:buFont typeface="Arial"/>
              <a:buNone/>
            </a:pPr>
            <a:r>
              <a:rPr lang="pt-BR" sz="680" b="1" noProof="0" dirty="0">
                <a:solidFill>
                  <a:schemeClr val="bg1"/>
                </a:solidFill>
              </a:rPr>
              <a:t>Classificação: [Público, Confidencial ou </a:t>
            </a:r>
            <a:r>
              <a:rPr lang="pt-BR" sz="680" b="1" baseline="0" noProof="0" dirty="0">
                <a:solidFill>
                  <a:schemeClr val="bg1"/>
                </a:solidFill>
              </a:rPr>
              <a:t>Confidencial de Alto Risco</a:t>
            </a:r>
            <a:r>
              <a:rPr lang="en-US" sz="680" b="1" noProof="0" dirty="0">
                <a:solidFill>
                  <a:schemeClr val="bg1"/>
                </a:solidFill>
              </a:rPr>
              <a:t>]</a:t>
            </a:r>
          </a:p>
          <a:p>
            <a:pPr marL="0" indent="0" algn="ctr">
              <a:spcBef>
                <a:spcPts val="0"/>
              </a:spcBef>
              <a:buSzPct val="100000"/>
              <a:buFont typeface="Arial"/>
              <a:buNone/>
            </a:pPr>
            <a:r>
              <a:rPr lang="pt-BR" sz="680" baseline="0" noProof="0" dirty="0">
                <a:solidFill>
                  <a:schemeClr val="bg1"/>
                </a:solidFill>
              </a:rPr>
              <a:t>Altere conforme o nível de classificação da informação.</a:t>
            </a:r>
          </a:p>
          <a:p>
            <a:pPr marL="0" indent="0" algn="ctr">
              <a:spcBef>
                <a:spcPts val="0"/>
              </a:spcBef>
              <a:buSzPct val="100000"/>
              <a:buFont typeface="Arial"/>
              <a:buNone/>
            </a:pPr>
            <a:r>
              <a:rPr lang="en-US" sz="680" baseline="0" noProof="0" dirty="0">
                <a:solidFill>
                  <a:schemeClr val="bg1"/>
                </a:solidFill>
              </a:rPr>
              <a:t>Clique View &gt; Slide Master &gt; Slide Master.</a:t>
            </a:r>
            <a:endParaRPr lang="pt-BR" sz="68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Copyright">
            <a:extLst>
              <a:ext uri="{FF2B5EF4-FFF2-40B4-BE49-F238E27FC236}">
                <a16:creationId xmlns:a16="http://schemas.microsoft.com/office/drawing/2014/main" id="{BAD3F06D-74E3-AD49-A33A-61334BB606DB}"/>
              </a:ext>
            </a:extLst>
          </p:cNvPr>
          <p:cNvSpPr txBox="1"/>
          <p:nvPr userDrawn="1"/>
        </p:nvSpPr>
        <p:spPr>
          <a:xfrm>
            <a:off x="376236" y="6527334"/>
            <a:ext cx="2834640" cy="1046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pt-BR" sz="68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2. Para mais informações, contate a Deloitte Touche </a:t>
            </a:r>
            <a:r>
              <a:rPr lang="pt-BR" sz="680" noProof="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hmatsu</a:t>
            </a:r>
            <a:r>
              <a:rPr lang="pt-BR" sz="68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t-BR" sz="680" noProof="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mited</a:t>
            </a:r>
            <a:r>
              <a:rPr lang="pt-BR" sz="68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en-US" sz="68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697899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E124185-7CE5-4A0E-AFB9-B615A8AC796D}"/>
              </a:ext>
            </a:extLst>
          </p:cNvPr>
          <p:cNvSpPr txBox="1"/>
          <p:nvPr userDrawn="1"/>
        </p:nvSpPr>
        <p:spPr>
          <a:xfrm>
            <a:off x="8536782" y="6477000"/>
            <a:ext cx="2309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8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CaseCode">
            <a:extLst>
              <a:ext uri="{FF2B5EF4-FFF2-40B4-BE49-F238E27FC236}">
                <a16:creationId xmlns:a16="http://schemas.microsoft.com/office/drawing/2014/main" id="{E9634CEF-D0EC-4CA8-913B-72EAB5704D4B}"/>
              </a:ext>
            </a:extLst>
          </p:cNvPr>
          <p:cNvSpPr txBox="1"/>
          <p:nvPr userDrawn="1"/>
        </p:nvSpPr>
        <p:spPr>
          <a:xfrm>
            <a:off x="5927510" y="6493477"/>
            <a:ext cx="2496298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4" name="Copyright">
            <a:extLst>
              <a:ext uri="{FF2B5EF4-FFF2-40B4-BE49-F238E27FC236}">
                <a16:creationId xmlns:a16="http://schemas.microsoft.com/office/drawing/2014/main" id="{2C002983-F77A-408B-B33C-6C0EDCD6B27A}"/>
              </a:ext>
            </a:extLst>
          </p:cNvPr>
          <p:cNvSpPr txBox="1"/>
          <p:nvPr userDrawn="1"/>
        </p:nvSpPr>
        <p:spPr>
          <a:xfrm>
            <a:off x="3323851" y="6527334"/>
            <a:ext cx="2496298" cy="32316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indent="0" algn="ctr">
              <a:spcBef>
                <a:spcPts val="0"/>
              </a:spcBef>
              <a:buSzPct val="100000"/>
              <a:buFont typeface="Arial"/>
              <a:buNone/>
            </a:pPr>
            <a:r>
              <a:rPr lang="pt-BR" sz="680" b="1" noProof="0" dirty="0">
                <a:solidFill>
                  <a:schemeClr val="bg1"/>
                </a:solidFill>
              </a:rPr>
              <a:t>Classificação: [Público, Confidencial ou </a:t>
            </a:r>
            <a:r>
              <a:rPr lang="pt-BR" sz="680" b="1" baseline="0" noProof="0" dirty="0">
                <a:solidFill>
                  <a:schemeClr val="bg1"/>
                </a:solidFill>
              </a:rPr>
              <a:t>Confidencial de Alto Risco</a:t>
            </a:r>
            <a:r>
              <a:rPr lang="en-US" sz="680" b="1" noProof="0" dirty="0">
                <a:solidFill>
                  <a:schemeClr val="bg1"/>
                </a:solidFill>
              </a:rPr>
              <a:t>]</a:t>
            </a:r>
          </a:p>
          <a:p>
            <a:pPr marL="0" indent="0" algn="ctr">
              <a:spcBef>
                <a:spcPts val="0"/>
              </a:spcBef>
              <a:buSzPct val="100000"/>
              <a:buFont typeface="Arial"/>
              <a:buNone/>
            </a:pPr>
            <a:r>
              <a:rPr lang="pt-BR" sz="680" baseline="0" noProof="0" dirty="0">
                <a:solidFill>
                  <a:schemeClr val="bg1"/>
                </a:solidFill>
              </a:rPr>
              <a:t>Altere conforme o nível de classificação da informação.</a:t>
            </a:r>
          </a:p>
          <a:p>
            <a:pPr marL="0" indent="0" algn="ctr">
              <a:spcBef>
                <a:spcPts val="0"/>
              </a:spcBef>
              <a:buSzPct val="100000"/>
              <a:buFont typeface="Arial"/>
              <a:buNone/>
            </a:pPr>
            <a:r>
              <a:rPr lang="en-US" sz="680" baseline="0" noProof="0" dirty="0">
                <a:solidFill>
                  <a:schemeClr val="bg1"/>
                </a:solidFill>
              </a:rPr>
              <a:t>Clique View &gt; Slide Master &gt; Slide Master.</a:t>
            </a:r>
            <a:endParaRPr lang="pt-BR" sz="68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88553D51-740C-F24B-96C2-E4F22055474E}"/>
              </a:ext>
            </a:extLst>
          </p:cNvPr>
          <p:cNvSpPr txBox="1"/>
          <p:nvPr userDrawn="1"/>
        </p:nvSpPr>
        <p:spPr>
          <a:xfrm>
            <a:off x="376236" y="6527334"/>
            <a:ext cx="2834640" cy="1046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pt-BR" sz="68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2. Para mais informações, contate a Deloitte Touche </a:t>
            </a:r>
            <a:r>
              <a:rPr lang="pt-BR" sz="680" noProof="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hmatsu</a:t>
            </a:r>
            <a:r>
              <a:rPr lang="pt-BR" sz="68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t-BR" sz="680" noProof="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mited</a:t>
            </a:r>
            <a:r>
              <a:rPr lang="pt-BR" sz="68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en-US" sz="68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882146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80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DFAFC23-2527-4A76-B3F4-EBD09D9637C1}"/>
              </a:ext>
            </a:extLst>
          </p:cNvPr>
          <p:cNvSpPr txBox="1"/>
          <p:nvPr userDrawn="1"/>
        </p:nvSpPr>
        <p:spPr>
          <a:xfrm>
            <a:off x="8536782" y="6477000"/>
            <a:ext cx="2309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8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Copyright">
            <a:extLst>
              <a:ext uri="{FF2B5EF4-FFF2-40B4-BE49-F238E27FC236}">
                <a16:creationId xmlns:a16="http://schemas.microsoft.com/office/drawing/2014/main" id="{BA6DD005-0751-E940-8A9B-AD9F5CC9244F}"/>
              </a:ext>
            </a:extLst>
          </p:cNvPr>
          <p:cNvSpPr txBox="1"/>
          <p:nvPr userDrawn="1"/>
        </p:nvSpPr>
        <p:spPr>
          <a:xfrm>
            <a:off x="355916" y="6527334"/>
            <a:ext cx="2834640" cy="1046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pt-BR" sz="68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2. Deloitte Touche </a:t>
            </a:r>
            <a:r>
              <a:rPr lang="pt-BR" sz="680" noProof="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hmatsu</a:t>
            </a:r>
            <a:r>
              <a:rPr lang="pt-BR" sz="68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t-BR" sz="680" noProof="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mited</a:t>
            </a:r>
            <a:r>
              <a:rPr lang="pt-BR" sz="68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US" sz="68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395294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oleObject" Target="../embeddings/oleObject1.bin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5"/>
            </p:custDataLst>
            <p:extLst>
              <p:ext uri="{D42A27DB-BD31-4B8C-83A1-F6EECF244321}">
                <p14:modId xmlns:p14="http://schemas.microsoft.com/office/powerpoint/2010/main" val="11693104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" name="think-cell Slide" r:id="rId46" imgW="270" imgH="270" progId="TCLayout.ActiveDocument.1">
                  <p:embed/>
                </p:oleObj>
              </mc:Choice>
              <mc:Fallback>
                <p:oleObj name="think-cell Slide" r:id="rId4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1"/>
            <a:ext cx="8391525" cy="3098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376237" y="1665289"/>
            <a:ext cx="8391525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8536782" y="6477000"/>
            <a:ext cx="2309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8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C563D567-AC46-4319-8ADD-5B70903D18E5}"/>
              </a:ext>
            </a:extLst>
          </p:cNvPr>
          <p:cNvSpPr txBox="1"/>
          <p:nvPr userDrawn="1"/>
        </p:nvSpPr>
        <p:spPr>
          <a:xfrm>
            <a:off x="376236" y="6527334"/>
            <a:ext cx="2834640" cy="1046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pt-BR" sz="68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2. Deloitte Touche </a:t>
            </a:r>
            <a:r>
              <a:rPr lang="pt-BR" sz="680" noProof="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hmatsu</a:t>
            </a:r>
            <a:r>
              <a:rPr lang="pt-BR" sz="68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t-BR" sz="680" noProof="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mited</a:t>
            </a:r>
            <a:r>
              <a:rPr lang="pt-BR" sz="68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en-US" sz="68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22832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55" r:id="rId3"/>
    <p:sldLayoutId id="2147483755" r:id="rId4"/>
    <p:sldLayoutId id="2147483806" r:id="rId5"/>
    <p:sldLayoutId id="2147483706" r:id="rId6"/>
    <p:sldLayoutId id="2147483707" r:id="rId7"/>
    <p:sldLayoutId id="2147483847" r:id="rId8"/>
    <p:sldLayoutId id="2147483848" r:id="rId9"/>
    <p:sldLayoutId id="2147483849" r:id="rId10"/>
    <p:sldLayoutId id="2147483850" r:id="rId11"/>
    <p:sldLayoutId id="2147483851" r:id="rId12"/>
    <p:sldLayoutId id="2147483852" r:id="rId13"/>
    <p:sldLayoutId id="2147483853" r:id="rId14"/>
    <p:sldLayoutId id="2147483807" r:id="rId15"/>
    <p:sldLayoutId id="2147483808" r:id="rId16"/>
    <p:sldLayoutId id="2147483809" r:id="rId17"/>
    <p:sldLayoutId id="2147483810" r:id="rId18"/>
    <p:sldLayoutId id="2147483811" r:id="rId19"/>
    <p:sldLayoutId id="2147483812" r:id="rId20"/>
    <p:sldLayoutId id="2147483813" r:id="rId21"/>
    <p:sldLayoutId id="2147483814" r:id="rId22"/>
    <p:sldLayoutId id="2147483815" r:id="rId23"/>
    <p:sldLayoutId id="2147483816" r:id="rId24"/>
    <p:sldLayoutId id="2147483817" r:id="rId25"/>
    <p:sldLayoutId id="2147483818" r:id="rId26"/>
    <p:sldLayoutId id="2147483819" r:id="rId27"/>
    <p:sldLayoutId id="2147483820" r:id="rId28"/>
    <p:sldLayoutId id="2147483821" r:id="rId29"/>
    <p:sldLayoutId id="2147483822" r:id="rId30"/>
    <p:sldLayoutId id="2147483823" r:id="rId31"/>
    <p:sldLayoutId id="2147483824" r:id="rId32"/>
    <p:sldLayoutId id="2147483825" r:id="rId33"/>
    <p:sldLayoutId id="2147483826" r:id="rId34"/>
    <p:sldLayoutId id="2147483827" r:id="rId35"/>
    <p:sldLayoutId id="2147483828" r:id="rId36"/>
    <p:sldLayoutId id="2147483829" r:id="rId37"/>
    <p:sldLayoutId id="2147483854" r:id="rId38"/>
    <p:sldLayoutId id="2147483830" r:id="rId39"/>
    <p:sldLayoutId id="2147483831" r:id="rId40"/>
    <p:sldLayoutId id="2147483832" r:id="rId41"/>
    <p:sldLayoutId id="2147483834" r:id="rId42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3" pos="3834" userDrawn="1">
          <p15:clr>
            <a:srgbClr val="F26B43"/>
          </p15:clr>
        </p15:guide>
        <p15:guide id="24" orient="horz" pos="2160" userDrawn="1">
          <p15:clr>
            <a:srgbClr val="F26B43"/>
          </p15:clr>
        </p15:guide>
        <p15:guide id="25" orient="horz" pos="4020" userDrawn="1">
          <p15:clr>
            <a:srgbClr val="F26B43"/>
          </p15:clr>
        </p15:guide>
        <p15:guide id="26" pos="237" userDrawn="1">
          <p15:clr>
            <a:srgbClr val="F26B43"/>
          </p15:clr>
        </p15:guide>
        <p15:guide id="27" pos="5523" userDrawn="1">
          <p15:clr>
            <a:srgbClr val="F26B43"/>
          </p15:clr>
        </p15:guide>
        <p15:guide id="30" orient="horz" pos="4080" userDrawn="1">
          <p15:clr>
            <a:srgbClr val="F26B43"/>
          </p15:clr>
        </p15:guide>
        <p15:guide id="31" pos="3721" userDrawn="1">
          <p15:clr>
            <a:srgbClr val="F26B43"/>
          </p15:clr>
        </p15:guide>
        <p15:guide id="32" orient="horz" pos="192" userDrawn="1">
          <p15:clr>
            <a:srgbClr val="F26B43"/>
          </p15:clr>
        </p15:guide>
        <p15:guide id="33" pos="1022" userDrawn="1">
          <p15:clr>
            <a:srgbClr val="F26B43"/>
          </p15:clr>
        </p15:guide>
        <p15:guide id="34" pos="1137" userDrawn="1">
          <p15:clr>
            <a:srgbClr val="F26B43"/>
          </p15:clr>
        </p15:guide>
        <p15:guide id="35" pos="1920" userDrawn="1">
          <p15:clr>
            <a:srgbClr val="F26B43"/>
          </p15:clr>
        </p15:guide>
        <p15:guide id="36" pos="2033" userDrawn="1">
          <p15:clr>
            <a:srgbClr val="F26B43"/>
          </p15:clr>
        </p15:guide>
        <p15:guide id="37" pos="4620" userDrawn="1">
          <p15:clr>
            <a:srgbClr val="F26B43"/>
          </p15:clr>
        </p15:guide>
        <p15:guide id="38" pos="2823" userDrawn="1">
          <p15:clr>
            <a:srgbClr val="F26B43"/>
          </p15:clr>
        </p15:guide>
        <p15:guide id="39" pos="2937" userDrawn="1">
          <p15:clr>
            <a:srgbClr val="F26B43"/>
          </p15:clr>
        </p15:guide>
        <p15:guide id="40" pos="2880" userDrawn="1">
          <p15:clr>
            <a:srgbClr val="F26B43"/>
          </p15:clr>
        </p15:guide>
        <p15:guide id="41" pos="4734" userDrawn="1">
          <p15:clr>
            <a:srgbClr val="F26B43"/>
          </p15:clr>
        </p15:guide>
        <p15:guide id="42" orient="horz" pos="1049" userDrawn="1">
          <p15:clr>
            <a:srgbClr val="F26B43"/>
          </p15:clr>
        </p15:guide>
        <p15:guide id="43" orient="horz" pos="408" userDrawn="1">
          <p15:clr>
            <a:srgbClr val="F26B43"/>
          </p15:clr>
        </p15:guide>
        <p15:guide id="44" orient="horz" pos="208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/>
          <p:cNvPicPr>
            <a:picLocks noGrp="1" noChangeAspect="1"/>
          </p:cNvPicPr>
          <p:nvPr>
            <p:ph type="pic" sz="quarter" idx="11"/>
          </p:nvPr>
        </p:nvPicPr>
        <p:blipFill>
          <a:blip r:embed="rId3"/>
          <a:srcRect/>
          <a:stretch/>
        </p:blipFill>
        <p:spPr>
          <a:xfrm>
            <a:off x="1879392" y="727200"/>
            <a:ext cx="5400000" cy="5400000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9CF4B8A-69C6-4566-887E-359B8A185A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16650" y="5679208"/>
            <a:ext cx="3334702" cy="895983"/>
          </a:xfrm>
        </p:spPr>
        <p:txBody>
          <a:bodyPr/>
          <a:lstStyle/>
          <a:p>
            <a:r>
              <a:rPr lang="pt-BR" sz="2800" dirty="0"/>
              <a:t>Análise Histórica de Nascimentos – Brasil e Estados Unidos</a:t>
            </a:r>
            <a:endParaRPr lang="en-US" sz="28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1C83E87-B377-4630-854E-9C15A28D2476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7665288" y="5505025"/>
            <a:ext cx="1271884" cy="1271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3035722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en-US" noProof="0" dirty="0">
              <a:solidFill>
                <a:schemeClr val="bg1"/>
              </a:solidFill>
              <a:latin typeface="+mj-lt"/>
            </a:endParaRPr>
          </a:p>
          <a:p>
            <a:pPr lvl="1"/>
            <a:r>
              <a:rPr lang="en-US" sz="1600" b="1" dirty="0">
                <a:solidFill>
                  <a:schemeClr val="bg1"/>
                </a:solidFill>
              </a:rPr>
              <a:t>Gabriel Adas</a:t>
            </a:r>
          </a:p>
          <a:p>
            <a:pPr lvl="1"/>
            <a:endParaRPr lang="en-US" b="1" noProof="0" dirty="0">
              <a:solidFill>
                <a:schemeClr val="bg1"/>
              </a:solidFill>
            </a:endParaRPr>
          </a:p>
          <a:p>
            <a:pPr lvl="1"/>
            <a:r>
              <a:rPr lang="pt-BR" sz="1400" dirty="0" err="1">
                <a:solidFill>
                  <a:schemeClr val="bg1"/>
                </a:solidFill>
              </a:rPr>
              <a:t>Indirect</a:t>
            </a:r>
            <a:r>
              <a:rPr lang="pt-BR" sz="1400" dirty="0">
                <a:solidFill>
                  <a:schemeClr val="bg1"/>
                </a:solidFill>
              </a:rPr>
              <a:t> </a:t>
            </a:r>
            <a:r>
              <a:rPr lang="pt-BR" sz="1400" dirty="0" err="1">
                <a:solidFill>
                  <a:schemeClr val="bg1"/>
                </a:solidFill>
              </a:rPr>
              <a:t>Tax</a:t>
            </a:r>
            <a:r>
              <a:rPr lang="pt-BR" sz="1400" dirty="0">
                <a:solidFill>
                  <a:schemeClr val="bg1"/>
                </a:solidFill>
              </a:rPr>
              <a:t> </a:t>
            </a:r>
            <a:r>
              <a:rPr lang="pt-BR" sz="1400" dirty="0" err="1">
                <a:solidFill>
                  <a:schemeClr val="bg1"/>
                </a:solidFill>
              </a:rPr>
              <a:t>Senior</a:t>
            </a:r>
            <a:endParaRPr lang="pt-BR" sz="1400" dirty="0">
              <a:solidFill>
                <a:schemeClr val="bg1"/>
              </a:solidFill>
            </a:endParaRPr>
          </a:p>
          <a:p>
            <a:pPr lvl="1"/>
            <a:r>
              <a:rPr lang="en-US" sz="1400" dirty="0">
                <a:solidFill>
                  <a:schemeClr val="bg1"/>
                </a:solidFill>
              </a:rPr>
              <a:t>Belo Horizonte</a:t>
            </a:r>
            <a:endParaRPr lang="en-US" sz="1400" noProof="0" dirty="0">
              <a:solidFill>
                <a:schemeClr val="bg1"/>
              </a:solidFill>
            </a:endParaRPr>
          </a:p>
          <a:p>
            <a:pPr lvl="1"/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33"/>
          </p:nvPr>
        </p:nvSpPr>
        <p:spPr>
          <a:xfrm>
            <a:off x="6297420" y="1880213"/>
            <a:ext cx="2723290" cy="1944000"/>
          </a:xfrm>
        </p:spPr>
        <p:txBody>
          <a:bodyPr/>
          <a:lstStyle/>
          <a:p>
            <a:endParaRPr lang="en-US" dirty="0">
              <a:solidFill>
                <a:schemeClr val="bg1"/>
              </a:solidFill>
            </a:endParaRPr>
          </a:p>
          <a:p>
            <a:pPr lvl="1"/>
            <a:r>
              <a:rPr lang="pt-BR" sz="1600" b="1" dirty="0">
                <a:solidFill>
                  <a:schemeClr val="bg1"/>
                </a:solidFill>
              </a:rPr>
              <a:t>Luiz Eduardo Wanderley Santos</a:t>
            </a:r>
          </a:p>
          <a:p>
            <a:pPr lvl="1"/>
            <a:endParaRPr lang="en-US" b="1" dirty="0">
              <a:solidFill>
                <a:schemeClr val="bg1"/>
              </a:solidFill>
            </a:endParaRPr>
          </a:p>
          <a:p>
            <a:pPr lvl="1"/>
            <a:r>
              <a:rPr lang="en-US" sz="1400" dirty="0">
                <a:solidFill>
                  <a:schemeClr val="bg1"/>
                </a:solidFill>
              </a:rPr>
              <a:t>Accounting &amp; Internal Controls Senior</a:t>
            </a:r>
          </a:p>
          <a:p>
            <a:pPr lvl="1"/>
            <a:r>
              <a:rPr lang="en-US" sz="1400" dirty="0">
                <a:solidFill>
                  <a:schemeClr val="bg1"/>
                </a:solidFill>
              </a:rPr>
              <a:t>Recife</a:t>
            </a:r>
            <a:endParaRPr lang="pt-BR" sz="1400" dirty="0">
              <a:solidFill>
                <a:schemeClr val="bg1"/>
              </a:solidFill>
            </a:endParaRP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en-US" dirty="0">
              <a:solidFill>
                <a:schemeClr val="bg1"/>
              </a:solidFill>
            </a:endParaRPr>
          </a:p>
          <a:p>
            <a:pPr lvl="1"/>
            <a:r>
              <a:rPr lang="pt-BR" sz="1600" b="1" dirty="0">
                <a:solidFill>
                  <a:schemeClr val="bg1"/>
                </a:solidFill>
              </a:rPr>
              <a:t>Lilian Sayuri Seki </a:t>
            </a:r>
          </a:p>
          <a:p>
            <a:pPr lvl="1"/>
            <a:endParaRPr lang="en-US" b="1" dirty="0">
              <a:solidFill>
                <a:schemeClr val="bg1"/>
              </a:solidFill>
            </a:endParaRPr>
          </a:p>
          <a:p>
            <a:pPr lvl="1"/>
            <a:r>
              <a:rPr lang="en-US" sz="1400" dirty="0">
                <a:solidFill>
                  <a:schemeClr val="bg1"/>
                </a:solidFill>
              </a:rPr>
              <a:t>Audit Data Analyst</a:t>
            </a:r>
          </a:p>
          <a:p>
            <a:pPr lvl="1"/>
            <a:r>
              <a:rPr lang="en-US" sz="1400" dirty="0">
                <a:solidFill>
                  <a:schemeClr val="bg1"/>
                </a:solidFill>
              </a:rPr>
              <a:t>Campinas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en-US" dirty="0">
              <a:solidFill>
                <a:schemeClr val="bg1"/>
              </a:solidFill>
            </a:endParaRPr>
          </a:p>
          <a:p>
            <a:pPr lvl="1"/>
            <a:r>
              <a:rPr lang="en-US" sz="1600" b="1" dirty="0" err="1">
                <a:solidFill>
                  <a:schemeClr val="bg1"/>
                </a:solidFill>
              </a:rPr>
              <a:t>Nathália</a:t>
            </a:r>
            <a:r>
              <a:rPr lang="en-US" sz="1600" b="1" dirty="0">
                <a:solidFill>
                  <a:schemeClr val="bg1"/>
                </a:solidFill>
              </a:rPr>
              <a:t> Paz Carvalho</a:t>
            </a:r>
          </a:p>
          <a:p>
            <a:pPr lvl="1"/>
            <a:endParaRPr lang="en-US" b="1" dirty="0">
              <a:solidFill>
                <a:schemeClr val="bg1"/>
              </a:solidFill>
            </a:endParaRPr>
          </a:p>
          <a:p>
            <a:pPr lvl="1"/>
            <a:r>
              <a:rPr lang="en-US" sz="1400" dirty="0">
                <a:solidFill>
                  <a:schemeClr val="bg1"/>
                </a:solidFill>
              </a:rPr>
              <a:t>Audit Data Analyst</a:t>
            </a:r>
          </a:p>
          <a:p>
            <a:pPr lvl="1"/>
            <a:r>
              <a:rPr lang="en-US" sz="1400" dirty="0">
                <a:solidFill>
                  <a:schemeClr val="bg1"/>
                </a:solidFill>
              </a:rPr>
              <a:t>Campina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77825" y="671434"/>
            <a:ext cx="8371762" cy="757255"/>
          </a:xfrm>
        </p:spPr>
        <p:txBody>
          <a:bodyPr/>
          <a:lstStyle/>
          <a:p>
            <a:r>
              <a:rPr lang="pt-BR" sz="4400" b="1" dirty="0">
                <a:solidFill>
                  <a:schemeClr val="bg1"/>
                </a:solidFill>
              </a:rPr>
              <a:t>Apresentação</a:t>
            </a:r>
            <a:endParaRPr lang="en-US" sz="4400" b="1" noProof="0" dirty="0">
              <a:solidFill>
                <a:schemeClr val="bg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05F8155-150D-4FE0-A32A-B97C9259CF3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65390" y="4256088"/>
            <a:ext cx="1465198" cy="147637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FD4AD34-229E-49B1-9A2B-0E87D2AF26B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6443" y="4256088"/>
            <a:ext cx="1465198" cy="149453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0AC7452-BA3B-4381-931C-A413C4E4B7C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7600" y="1879600"/>
            <a:ext cx="1474787" cy="1394135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D7272E3D-4B48-48F5-9A08-1E671C5C428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55523" y="1879600"/>
            <a:ext cx="1375065" cy="1386429"/>
          </a:xfrm>
          <a:prstGeom prst="rect">
            <a:avLst/>
          </a:prstGeom>
        </p:spPr>
      </p:pic>
      <p:sp>
        <p:nvSpPr>
          <p:cNvPr id="22" name="Oval 21">
            <a:extLst>
              <a:ext uri="{FF2B5EF4-FFF2-40B4-BE49-F238E27FC236}">
                <a16:creationId xmlns:a16="http://schemas.microsoft.com/office/drawing/2014/main" id="{AF30E576-D74A-4E73-8D39-5CAAF841C4E9}"/>
              </a:ext>
            </a:extLst>
          </p:cNvPr>
          <p:cNvSpPr/>
          <p:nvPr/>
        </p:nvSpPr>
        <p:spPr bwMode="gray">
          <a:xfrm>
            <a:off x="575353" y="1952090"/>
            <a:ext cx="1269262" cy="1232899"/>
          </a:xfrm>
          <a:prstGeom prst="ellipse">
            <a:avLst/>
          </a:prstGeom>
          <a:noFill/>
          <a:ln w="47625" algn="ctr">
            <a:solidFill>
              <a:srgbClr val="92D05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796BCD17-03CD-4B8F-9C94-F2601CA6C0B6}"/>
              </a:ext>
            </a:extLst>
          </p:cNvPr>
          <p:cNvSpPr/>
          <p:nvPr/>
        </p:nvSpPr>
        <p:spPr bwMode="gray">
          <a:xfrm>
            <a:off x="4808424" y="1952090"/>
            <a:ext cx="1269262" cy="1232899"/>
          </a:xfrm>
          <a:prstGeom prst="ellipse">
            <a:avLst/>
          </a:prstGeom>
          <a:noFill/>
          <a:ln w="47625" algn="ctr">
            <a:solidFill>
              <a:srgbClr val="92D05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8E054111-3008-47ED-A8F8-320D691DE3EC}"/>
              </a:ext>
            </a:extLst>
          </p:cNvPr>
          <p:cNvSpPr/>
          <p:nvPr/>
        </p:nvSpPr>
        <p:spPr bwMode="gray">
          <a:xfrm>
            <a:off x="4746406" y="4377824"/>
            <a:ext cx="1269262" cy="1232899"/>
          </a:xfrm>
          <a:prstGeom prst="ellipse">
            <a:avLst/>
          </a:prstGeom>
          <a:noFill/>
          <a:ln w="47625" algn="ctr">
            <a:solidFill>
              <a:srgbClr val="92D05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C7BB25D6-2081-40EA-AF56-1271F92EDEC7}"/>
              </a:ext>
            </a:extLst>
          </p:cNvPr>
          <p:cNvSpPr/>
          <p:nvPr/>
        </p:nvSpPr>
        <p:spPr bwMode="gray">
          <a:xfrm>
            <a:off x="494411" y="4377824"/>
            <a:ext cx="1269262" cy="1232899"/>
          </a:xfrm>
          <a:prstGeom prst="ellipse">
            <a:avLst/>
          </a:prstGeom>
          <a:noFill/>
          <a:ln w="47625" algn="ctr">
            <a:solidFill>
              <a:srgbClr val="92D05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350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29909" y="322431"/>
            <a:ext cx="7905750" cy="677934"/>
          </a:xfrm>
        </p:spPr>
        <p:txBody>
          <a:bodyPr/>
          <a:lstStyle/>
          <a:p>
            <a:pPr algn="just"/>
            <a:r>
              <a:rPr lang="pt-BR" sz="4400" noProof="0" dirty="0"/>
              <a:t>Proposta</a:t>
            </a:r>
            <a:endParaRPr lang="en-US" sz="4400" noProof="0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301374" y="2067673"/>
            <a:ext cx="8541252" cy="2129321"/>
          </a:xfrm>
        </p:spPr>
        <p:txBody>
          <a:bodyPr/>
          <a:lstStyle/>
          <a:p>
            <a:pPr algn="just"/>
            <a:r>
              <a:rPr lang="pt-BR" sz="3200" dirty="0"/>
              <a:t>	Reunir dados e analisar as taxas de nascimentos dos Estados Unidos e do Brasil a fim de fornecer informações consistentes para o Serviço de Saúde Americano.</a:t>
            </a:r>
          </a:p>
          <a:p>
            <a:endParaRPr lang="en-US" noProof="0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42EF2E7-A8CF-4E8F-86C3-05C4B63D309F}"/>
              </a:ext>
            </a:extLst>
          </p:cNvPr>
          <p:cNvCxnSpPr/>
          <p:nvPr/>
        </p:nvCxnSpPr>
        <p:spPr>
          <a:xfrm>
            <a:off x="0" y="1130156"/>
            <a:ext cx="9144000" cy="0"/>
          </a:xfrm>
          <a:prstGeom prst="line">
            <a:avLst/>
          </a:prstGeom>
          <a:ln w="60325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5254839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13266" y="282780"/>
            <a:ext cx="7905750" cy="677934"/>
          </a:xfrm>
        </p:spPr>
        <p:txBody>
          <a:bodyPr/>
          <a:lstStyle/>
          <a:p>
            <a:r>
              <a:rPr lang="pt-BR" sz="4400" dirty="0"/>
              <a:t>Tecnologias Utilizadas</a:t>
            </a:r>
            <a:endParaRPr lang="en-US" sz="4400" noProof="0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226031" y="1469204"/>
            <a:ext cx="7908050" cy="4258640"/>
          </a:xfrm>
        </p:spPr>
        <p:txBody>
          <a:bodyPr/>
          <a:lstStyle/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/>
              <a:t>Tratamento de dados:</a:t>
            </a:r>
          </a:p>
          <a:p>
            <a:pPr marL="1028700" lvl="1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</a:rPr>
              <a:t>Python</a:t>
            </a:r>
            <a:endParaRPr lang="pt-BR" dirty="0">
              <a:solidFill>
                <a:schemeClr val="bg1"/>
              </a:solidFill>
            </a:endParaRPr>
          </a:p>
          <a:p>
            <a:pPr lvl="1"/>
            <a:endParaRPr lang="pt-BR" dirty="0">
              <a:solidFill>
                <a:schemeClr val="bg1"/>
              </a:solidFill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/>
              <a:t>Dashboards:</a:t>
            </a:r>
          </a:p>
          <a:p>
            <a:pPr marL="1028700" lvl="1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</a:rPr>
              <a:t>Power Bi</a:t>
            </a:r>
            <a:endParaRPr lang="pt-BR" sz="1600" dirty="0">
              <a:solidFill>
                <a:schemeClr val="bg1"/>
              </a:solidFill>
            </a:endParaRPr>
          </a:p>
          <a:p>
            <a:pPr lvl="1"/>
            <a:endParaRPr lang="pt-BR" sz="1600" dirty="0">
              <a:solidFill>
                <a:schemeClr val="bg1"/>
              </a:solidFill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200" dirty="0"/>
              <a:t>Repositório de documentos:</a:t>
            </a:r>
          </a:p>
          <a:p>
            <a:pPr marL="1028700" lvl="1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</a:rPr>
              <a:t>GitHub</a:t>
            </a:r>
          </a:p>
          <a:p>
            <a:pPr marL="1485900" lvl="2" indent="-571500">
              <a:buFont typeface="Arial" panose="020B0604020202020204" pitchFamily="34" charset="0"/>
              <a:buChar char="•"/>
            </a:pPr>
            <a:r>
              <a:rPr lang="pt-BR" sz="1400" dirty="0">
                <a:solidFill>
                  <a:schemeClr val="bg1"/>
                </a:solidFill>
              </a:rPr>
              <a:t>Diretório: https://github.com/lseki/desafio-deloitte/blob/main/Projeto_Integrador_2_V6.ipynb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03497CF-8499-4EBB-BC0E-1B8BC586560E}"/>
              </a:ext>
            </a:extLst>
          </p:cNvPr>
          <p:cNvCxnSpPr/>
          <p:nvPr/>
        </p:nvCxnSpPr>
        <p:spPr>
          <a:xfrm>
            <a:off x="0" y="1130156"/>
            <a:ext cx="9144000" cy="0"/>
          </a:xfrm>
          <a:prstGeom prst="line">
            <a:avLst/>
          </a:prstGeom>
          <a:ln w="60325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50" name="Picture 2" descr="Python - MI PORTAL | Python logo, Python, Web layout design">
            <a:extLst>
              <a:ext uri="{FF2B5EF4-FFF2-40B4-BE49-F238E27FC236}">
                <a16:creationId xmlns:a16="http://schemas.microsoft.com/office/drawing/2014/main" id="{4869F3D7-4EEA-4919-9080-FAFCDF8F46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4462" y="1469204"/>
            <a:ext cx="1359237" cy="13592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Bi Icon #333530 - Free Icons Library">
            <a:extLst>
              <a:ext uri="{FF2B5EF4-FFF2-40B4-BE49-F238E27FC236}">
                <a16:creationId xmlns:a16="http://schemas.microsoft.com/office/drawing/2014/main" id="{30D9CED5-E4E0-4BAE-9FD8-66E7BA134E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4462" y="3089466"/>
            <a:ext cx="1359237" cy="1018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github-logo-white - Sfera Labs">
            <a:extLst>
              <a:ext uri="{FF2B5EF4-FFF2-40B4-BE49-F238E27FC236}">
                <a16:creationId xmlns:a16="http://schemas.microsoft.com/office/drawing/2014/main" id="{4B3795D0-F909-4B61-ABCE-7A23DB11D3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9089" y="4368607"/>
            <a:ext cx="1938301" cy="1289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49186124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751164" y="292747"/>
            <a:ext cx="3053031" cy="719258"/>
          </a:xfrm>
        </p:spPr>
        <p:txBody>
          <a:bodyPr/>
          <a:lstStyle/>
          <a:p>
            <a:pPr algn="just"/>
            <a:r>
              <a:rPr lang="pt-BR" sz="4400" dirty="0"/>
              <a:t>Dificuldades</a:t>
            </a:r>
            <a:endParaRPr lang="en-US" sz="4400" noProof="0" dirty="0"/>
          </a:p>
        </p:txBody>
      </p:sp>
      <p:sp>
        <p:nvSpPr>
          <p:cNvPr id="6" name="Title 8">
            <a:extLst>
              <a:ext uri="{FF2B5EF4-FFF2-40B4-BE49-F238E27FC236}">
                <a16:creationId xmlns:a16="http://schemas.microsoft.com/office/drawing/2014/main" id="{0BDFBDD5-D4BD-4818-9779-602C7D5D093E}"/>
              </a:ext>
            </a:extLst>
          </p:cNvPr>
          <p:cNvSpPr txBox="1">
            <a:spLocks/>
          </p:cNvSpPr>
          <p:nvPr/>
        </p:nvSpPr>
        <p:spPr bwMode="gray">
          <a:xfrm>
            <a:off x="4769589" y="87421"/>
            <a:ext cx="4193463" cy="92458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3600" b="1" kern="120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just"/>
            <a:r>
              <a:rPr lang="pt-BR" sz="4400" dirty="0"/>
              <a:t>Pontos Assertivos</a:t>
            </a:r>
            <a:endParaRPr lang="en-US" sz="4400" dirty="0"/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3A4DC1BF-479A-430D-B508-724D8A766B87}"/>
              </a:ext>
            </a:extLst>
          </p:cNvPr>
          <p:cNvSpPr txBox="1">
            <a:spLocks/>
          </p:cNvSpPr>
          <p:nvPr/>
        </p:nvSpPr>
        <p:spPr bwMode="gray">
          <a:xfrm>
            <a:off x="4572000" y="2093357"/>
            <a:ext cx="3599860" cy="38759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3600" b="0" kern="120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45720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2000" b="1" kern="120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91440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None/>
              <a:defRPr lang="en-US"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137160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None/>
              <a:defRPr lang="en-US" sz="16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1828800" indent="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None/>
              <a:tabLst/>
              <a:defRPr lang="en-US" sz="16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228600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0CDDE05-F715-4CCF-8B5B-6B09A90C6A92}"/>
              </a:ext>
            </a:extLst>
          </p:cNvPr>
          <p:cNvCxnSpPr/>
          <p:nvPr/>
        </p:nvCxnSpPr>
        <p:spPr>
          <a:xfrm>
            <a:off x="0" y="1130156"/>
            <a:ext cx="9144000" cy="0"/>
          </a:xfrm>
          <a:prstGeom prst="line">
            <a:avLst/>
          </a:prstGeom>
          <a:ln w="60325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A9932BC4-9B13-446F-AE77-A0AE5F4EB3A3}"/>
              </a:ext>
            </a:extLst>
          </p:cNvPr>
          <p:cNvSpPr/>
          <p:nvPr/>
        </p:nvSpPr>
        <p:spPr bwMode="gray">
          <a:xfrm>
            <a:off x="523983" y="1366460"/>
            <a:ext cx="3507394" cy="4818579"/>
          </a:xfrm>
          <a:prstGeom prst="rect">
            <a:avLst/>
          </a:prstGeom>
          <a:noFill/>
          <a:ln w="19050" algn="ctr">
            <a:solidFill>
              <a:srgbClr val="92D05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36DA664-F0D9-406E-8150-9983BBDDD03F}"/>
              </a:ext>
            </a:extLst>
          </p:cNvPr>
          <p:cNvSpPr/>
          <p:nvPr/>
        </p:nvSpPr>
        <p:spPr bwMode="gray">
          <a:xfrm>
            <a:off x="5112624" y="1366461"/>
            <a:ext cx="3507394" cy="4818579"/>
          </a:xfrm>
          <a:prstGeom prst="rect">
            <a:avLst/>
          </a:prstGeom>
          <a:noFill/>
          <a:ln w="19050" algn="ctr">
            <a:solidFill>
              <a:srgbClr val="92D05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E5A68F3-B960-48F8-8041-FF62EF6C592D}"/>
              </a:ext>
            </a:extLst>
          </p:cNvPr>
          <p:cNvSpPr txBox="1"/>
          <p:nvPr/>
        </p:nvSpPr>
        <p:spPr>
          <a:xfrm>
            <a:off x="711445" y="1520574"/>
            <a:ext cx="3132467" cy="27392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pt-BR" sz="2400" dirty="0">
                <a:solidFill>
                  <a:schemeClr val="bg1"/>
                </a:solidFill>
              </a:rPr>
              <a:t>Comandos para tratamento;</a:t>
            </a: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pt-BR" sz="2400" dirty="0">
                <a:solidFill>
                  <a:schemeClr val="bg1"/>
                </a:solidFill>
              </a:rPr>
              <a:t>Biblioteca a ser utilizado;</a:t>
            </a: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pt-BR" sz="2400" dirty="0">
                <a:solidFill>
                  <a:schemeClr val="bg1"/>
                </a:solidFill>
              </a:rPr>
              <a:t>Dificuldade com a identificação dos comandos aplicados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6F62DC1-3107-48EA-B278-04FDC61CECB7}"/>
              </a:ext>
            </a:extLst>
          </p:cNvPr>
          <p:cNvSpPr txBox="1"/>
          <p:nvPr/>
        </p:nvSpPr>
        <p:spPr>
          <a:xfrm>
            <a:off x="5343713" y="1554234"/>
            <a:ext cx="3088842" cy="24468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pt-BR" sz="2400" dirty="0">
                <a:solidFill>
                  <a:schemeClr val="bg1"/>
                </a:solidFill>
              </a:rPr>
              <a:t>Escolha da ferramenta;</a:t>
            </a: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pt-BR" sz="2400" dirty="0">
                <a:solidFill>
                  <a:schemeClr val="bg1"/>
                </a:solidFill>
              </a:rPr>
              <a:t>Integração direta do “</a:t>
            </a:r>
            <a:r>
              <a:rPr lang="pt-BR" sz="2400" dirty="0" err="1">
                <a:solidFill>
                  <a:schemeClr val="bg1"/>
                </a:solidFill>
              </a:rPr>
              <a:t>Collab</a:t>
            </a:r>
            <a:r>
              <a:rPr lang="pt-BR" sz="2400" dirty="0">
                <a:solidFill>
                  <a:schemeClr val="bg1"/>
                </a:solidFill>
              </a:rPr>
              <a:t>” com o “GitHub”;</a:t>
            </a: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endParaRPr lang="pt-BR" sz="2400" dirty="0">
              <a:solidFill>
                <a:schemeClr val="bg1"/>
              </a:solidFill>
            </a:endParaRP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endParaRPr lang="en-US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3951921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83771" y="2016887"/>
            <a:ext cx="8576458" cy="1592403"/>
          </a:xfrm>
        </p:spPr>
        <p:txBody>
          <a:bodyPr/>
          <a:lstStyle/>
          <a:p>
            <a:pPr algn="ctr"/>
            <a:r>
              <a:rPr lang="pt-BR" sz="4400" dirty="0"/>
              <a:t>Agradecimentos</a:t>
            </a:r>
            <a:endParaRPr lang="en-US" sz="4400" u="sng" noProof="0" dirty="0"/>
          </a:p>
        </p:txBody>
      </p:sp>
      <p:sp>
        <p:nvSpPr>
          <p:cNvPr id="6" name="Title 8">
            <a:extLst>
              <a:ext uri="{FF2B5EF4-FFF2-40B4-BE49-F238E27FC236}">
                <a16:creationId xmlns:a16="http://schemas.microsoft.com/office/drawing/2014/main" id="{0BDFBDD5-D4BD-4818-9779-602C7D5D093E}"/>
              </a:ext>
            </a:extLst>
          </p:cNvPr>
          <p:cNvSpPr txBox="1">
            <a:spLocks/>
          </p:cNvSpPr>
          <p:nvPr/>
        </p:nvSpPr>
        <p:spPr bwMode="gray">
          <a:xfrm>
            <a:off x="283771" y="2951313"/>
            <a:ext cx="7905750" cy="159240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3600" b="1" kern="120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just"/>
            <a:endParaRPr lang="en-US" sz="4400" u="sng" dirty="0"/>
          </a:p>
        </p:txBody>
      </p:sp>
    </p:spTree>
    <p:extLst>
      <p:ext uri="{BB962C8B-B14F-4D97-AF65-F5344CB8AC3E}">
        <p14:creationId xmlns:p14="http://schemas.microsoft.com/office/powerpoint/2010/main" val="150762026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76238" y="4211955"/>
            <a:ext cx="6431885" cy="2169796"/>
          </a:xfrm>
        </p:spPr>
        <p:txBody>
          <a:bodyPr>
            <a:noAutofit/>
          </a:bodyPr>
          <a:lstStyle/>
          <a:p>
            <a:r>
              <a:rPr lang="pt-BR" dirty="0"/>
              <a:t>A Deloitte refere-se a uma ou mais empresas da Deloitte Touche </a:t>
            </a:r>
            <a:r>
              <a:rPr lang="pt-BR" dirty="0" err="1"/>
              <a:t>Tohmatsu</a:t>
            </a:r>
            <a:r>
              <a:rPr lang="pt-BR" dirty="0"/>
              <a:t> </a:t>
            </a:r>
            <a:r>
              <a:rPr lang="pt-BR" dirty="0" err="1"/>
              <a:t>Limited</a:t>
            </a:r>
            <a:r>
              <a:rPr lang="pt-BR" dirty="0"/>
              <a:t> (“DTTL”), sua rede global de firmas-membro e suas entidades relacionadas (coletivamente, a “organização Deloitte”). A DTTL (também chamada de “Deloitte Global”) e cada uma de suas firmas-membro e entidades relacionadas são legalmente separadas e independentes, que não podem se obrigar ou se vincular a terceiros. A DTTL, cada firma-membro da DTTL e cada entidade relacionada são responsáveis apenas por seus próprios atos e omissões, e não entre si. A DTTL não fornece serviços para clientes. Por favor, consulte www.deloitte.com/about para saber mais.</a:t>
            </a:r>
          </a:p>
          <a:p>
            <a:r>
              <a:rPr lang="pt-BR" dirty="0"/>
              <a:t>A Deloitte é líder global de auditoria, consultoria empresarial, assessoria financeira, gestão de riscos, consultoria tributária e serviços correlatos. Nossa rede global de firmas-membro e entidades relacionadas, presente em mais de 150 países e territórios (coletivamente, a “organização Deloitte”), atende a quatro de cada cinco organizações listadas pela Fortune Global 500®. Saiba como os cerca de 345 mil profissionais da Deloitte impactam positivamente seus clientes em www.deloitte.com.</a:t>
            </a:r>
          </a:p>
          <a:p>
            <a:r>
              <a:rPr lang="pt-BR" dirty="0"/>
              <a:t>© 2022. Para mais informações, contate a Deloitte Global.</a:t>
            </a:r>
          </a:p>
        </p:txBody>
      </p:sp>
    </p:spTree>
    <p:extLst>
      <p:ext uri="{BB962C8B-B14F-4D97-AF65-F5344CB8AC3E}">
        <p14:creationId xmlns:p14="http://schemas.microsoft.com/office/powerpoint/2010/main" val="2636900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 Brand Theme">
  <a:themeElements>
    <a:clrScheme name="Custom 1">
      <a:dk1>
        <a:sysClr val="windowText" lastClr="000000"/>
      </a:dk1>
      <a:lt1>
        <a:sysClr val="window" lastClr="FFFFFF"/>
      </a:lt1>
      <a:dk2>
        <a:srgbClr val="D0D0CE"/>
      </a:dk2>
      <a:lt2>
        <a:srgbClr val="53565A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Custom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Brand Theme" id="{F044D734-3231-432B-9AA0-EE1A6C8E883D}" vid="{424ACC47-B8BB-4763-B52A-5FB9302C425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7C0B5E8C28FBB4DB6BB6E6547CA8A70" ma:contentTypeVersion="13" ma:contentTypeDescription="Create a new document." ma:contentTypeScope="" ma:versionID="0a46a10188038176b4a387d52ea71e7a">
  <xsd:schema xmlns:xsd="http://www.w3.org/2001/XMLSchema" xmlns:xs="http://www.w3.org/2001/XMLSchema" xmlns:p="http://schemas.microsoft.com/office/2006/metadata/properties" xmlns:ns3="8f1e2369-70da-40d7-b978-99d0855b91b8" xmlns:ns4="8ee28f6f-733e-446a-845c-015b8614e1f7" targetNamespace="http://schemas.microsoft.com/office/2006/metadata/properties" ma:root="true" ma:fieldsID="79067f50d15324d46a422f953b0a6563" ns3:_="" ns4:_="">
    <xsd:import namespace="8f1e2369-70da-40d7-b978-99d0855b91b8"/>
    <xsd:import namespace="8ee28f6f-733e-446a-845c-015b8614e1f7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f1e2369-70da-40d7-b978-99d0855b91b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OCR" ma:index="1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ee28f6f-733e-446a-845c-015b8614e1f7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CC5DAB5-DC8A-44B9-8F75-7D201F1BD95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1B9BE9D-B933-4630-94FF-2DF936F1808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f1e2369-70da-40d7-b978-99d0855b91b8"/>
    <ds:schemaRef ds:uri="8ee28f6f-733e-446a-845c-015b8614e1f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2430A79-D112-473B-A447-6818A3361F6B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loitte Brand Theme</Template>
  <TotalTime>1687</TotalTime>
  <Words>367</Words>
  <Application>Microsoft Office PowerPoint</Application>
  <PresentationFormat>On-screen Show (4:3)</PresentationFormat>
  <Paragraphs>52</Paragraphs>
  <Slides>7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4" baseType="lpstr">
      <vt:lpstr>Arial</vt:lpstr>
      <vt:lpstr>Calibri</vt:lpstr>
      <vt:lpstr>Calibri Light</vt:lpstr>
      <vt:lpstr>Verdana</vt:lpstr>
      <vt:lpstr>Wingdings 2</vt:lpstr>
      <vt:lpstr>Deloitte Brand Theme</vt:lpstr>
      <vt:lpstr>think-cell Slide</vt:lpstr>
      <vt:lpstr>Análise Histórica de Nascimentos – Brasil e Estados Unidos</vt:lpstr>
      <vt:lpstr>PowerPoint Presentation</vt:lpstr>
      <vt:lpstr>Proposta</vt:lpstr>
      <vt:lpstr>Tecnologias Utilizadas</vt:lpstr>
      <vt:lpstr>Dificuldades</vt:lpstr>
      <vt:lpstr>Agradecimentos</vt:lpstr>
      <vt:lpstr>PowerPoint Presentation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chulfer, Gretchen</dc:creator>
  <cp:lastModifiedBy>Seki, Lilian Sayuri</cp:lastModifiedBy>
  <cp:revision>33</cp:revision>
  <cp:lastPrinted>2014-06-25T02:16:22Z</cp:lastPrinted>
  <dcterms:created xsi:type="dcterms:W3CDTF">2020-03-02T21:08:35Z</dcterms:created>
  <dcterms:modified xsi:type="dcterms:W3CDTF">2022-03-24T01:02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7C0B5E8C28FBB4DB6BB6E6547CA8A70</vt:lpwstr>
  </property>
  <property fmtid="{D5CDD505-2E9C-101B-9397-08002B2CF9AE}" pid="3" name="MSIP_Label_589256c7-9946-44df-b379-51beb93fd2d9_Enabled">
    <vt:lpwstr>true</vt:lpwstr>
  </property>
  <property fmtid="{D5CDD505-2E9C-101B-9397-08002B2CF9AE}" pid="4" name="MSIP_Label_589256c7-9946-44df-b379-51beb93fd2d9_SetDate">
    <vt:lpwstr>2021-09-29T18:10:47Z</vt:lpwstr>
  </property>
  <property fmtid="{D5CDD505-2E9C-101B-9397-08002B2CF9AE}" pid="5" name="MSIP_Label_589256c7-9946-44df-b379-51beb93fd2d9_Method">
    <vt:lpwstr>Privileged</vt:lpwstr>
  </property>
  <property fmtid="{D5CDD505-2E9C-101B-9397-08002B2CF9AE}" pid="6" name="MSIP_Label_589256c7-9946-44df-b379-51beb93fd2d9_Name">
    <vt:lpwstr>589256c7-9946-44df-b379-51beb93fd2d9</vt:lpwstr>
  </property>
  <property fmtid="{D5CDD505-2E9C-101B-9397-08002B2CF9AE}" pid="7" name="MSIP_Label_589256c7-9946-44df-b379-51beb93fd2d9_SiteId">
    <vt:lpwstr>36da45f1-dd2c-4d1f-af13-5abe46b99921</vt:lpwstr>
  </property>
  <property fmtid="{D5CDD505-2E9C-101B-9397-08002B2CF9AE}" pid="8" name="MSIP_Label_589256c7-9946-44df-b379-51beb93fd2d9_ActionId">
    <vt:lpwstr>d4523530-aed2-4a86-917a-13e578e763e3</vt:lpwstr>
  </property>
  <property fmtid="{D5CDD505-2E9C-101B-9397-08002B2CF9AE}" pid="9" name="MSIP_Label_589256c7-9946-44df-b379-51beb93fd2d9_ContentBits">
    <vt:lpwstr>0</vt:lpwstr>
  </property>
</Properties>
</file>